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ppt/tags/tag42.xml" ContentType="application/vnd.openxmlformats-officedocument.presentationml.tags+xml"/>
  <Override PartName="/ppt/notesSlides/notesSlide7.xml" ContentType="application/vnd.openxmlformats-officedocument.presentationml.notesSlide+xml"/>
  <Override PartName="/ppt/tags/tag43.xml" ContentType="application/vnd.openxmlformats-officedocument.presentationml.tags+xml"/>
  <Override PartName="/ppt/notesSlides/notesSlide8.xml" ContentType="application/vnd.openxmlformats-officedocument.presentationml.notesSlide+xml"/>
  <Override PartName="/ppt/tags/tag44.xml" ContentType="application/vnd.openxmlformats-officedocument.presentationml.tags+xml"/>
  <Override PartName="/ppt/notesSlides/notesSlide9.xml" ContentType="application/vnd.openxmlformats-officedocument.presentationml.notesSlide+xml"/>
  <Override PartName="/ppt/tags/tag45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1"/>
  </p:sldMasterIdLst>
  <p:notesMasterIdLst>
    <p:notesMasterId r:id="rId12"/>
  </p:notesMasterIdLst>
  <p:sldIdLst>
    <p:sldId id="2145707417" r:id="rId2"/>
    <p:sldId id="2145707418" r:id="rId3"/>
    <p:sldId id="2145707403" r:id="rId4"/>
    <p:sldId id="2145707408" r:id="rId5"/>
    <p:sldId id="2145707409" r:id="rId6"/>
    <p:sldId id="2145707420" r:id="rId7"/>
    <p:sldId id="16763917" r:id="rId8"/>
    <p:sldId id="2145707410" r:id="rId9"/>
    <p:sldId id="2145707413" r:id="rId10"/>
    <p:sldId id="2145707414" r:id="rId11"/>
  </p:sldIdLst>
  <p:sldSz cx="12192000" cy="6858000"/>
  <p:notesSz cx="6858000" cy="9144000"/>
  <p:custDataLst>
    <p:tags r:id="rId1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60" userDrawn="1">
          <p15:clr>
            <a:srgbClr val="A4A3A4"/>
          </p15:clr>
        </p15:guide>
        <p15:guide id="4" orient="horz" pos="1512" userDrawn="1">
          <p15:clr>
            <a:srgbClr val="A4A3A4"/>
          </p15:clr>
        </p15:guide>
        <p15:guide id="6" pos="3864" userDrawn="1">
          <p15:clr>
            <a:srgbClr val="A4A3A4"/>
          </p15:clr>
        </p15:guide>
        <p15:guide id="7" pos="7344" userDrawn="1">
          <p15:clr>
            <a:srgbClr val="A4A3A4"/>
          </p15:clr>
        </p15:guide>
        <p15:guide id="8" orient="horz" pos="3912" userDrawn="1">
          <p15:clr>
            <a:srgbClr val="A4A3A4"/>
          </p15:clr>
        </p15:guide>
        <p15:guide id="9" orient="horz" pos="37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ngzhichao@bjmu.edu.cn" initials="w" lastIdx="1" clrIdx="0">
    <p:extLst>
      <p:ext uri="{19B8F6BF-5375-455C-9EA6-DF929625EA0E}">
        <p15:presenceInfo xmlns:p15="http://schemas.microsoft.com/office/powerpoint/2012/main" userId="10c94a92e44f8f0f" providerId="Windows Live"/>
      </p:ext>
    </p:extLst>
  </p:cmAuthor>
  <p:cmAuthor id="2" name="Wang, Zhichao" initials="WZ" lastIdx="7" clrIdx="1">
    <p:extLst>
      <p:ext uri="{19B8F6BF-5375-455C-9EA6-DF929625EA0E}">
        <p15:presenceInfo xmlns:p15="http://schemas.microsoft.com/office/powerpoint/2012/main" userId="S::zwang3@cn.imshealth.com::d27ac9bd-ccc4-435f-a717-ff18041b16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E7E7"/>
    <a:srgbClr val="FFFFFF"/>
    <a:srgbClr val="FFDBD9"/>
    <a:srgbClr val="FFDFDD"/>
    <a:srgbClr val="75B0D7"/>
    <a:srgbClr val="EE1100"/>
    <a:srgbClr val="599ACD"/>
    <a:srgbClr val="5D9DCF"/>
    <a:srgbClr val="67A5D2"/>
    <a:srgbClr val="8AC0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E0B9C7-F9EB-4D77-A868-81A38AE1A5C3}" v="118" dt="2022-07-14T05:55:19.931"/>
    <p1510:client id="{1E126F64-5ACA-4F9B-AF4E-9D5495F019BC}" v="750" dt="2022-07-14T04:56:40.504"/>
    <p1510:client id="{3520690B-062C-4F6E-9E98-ED1E07D6D128}" v="30" dt="2022-07-14T05:03:21.192"/>
    <p1510:client id="{38E739EB-CBFA-4AA4-A660-BE0CC2FEDE23}" v="73" dt="2022-07-13T16:07:14.209"/>
    <p1510:client id="{9E897598-FA2D-4FEF-97D1-7C07C359EE7F}" v="14" dt="2022-07-14T06:04:58.549"/>
    <p1510:client id="{FE6E1BFC-B9D7-47E5-B3A4-88A888471B98}" v="506" dt="2022-07-13T15:23:26.5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86" autoAdjust="0"/>
    <p:restoredTop sz="93235" autoAdjust="0"/>
  </p:normalViewPr>
  <p:slideViewPr>
    <p:cSldViewPr snapToGrid="0">
      <p:cViewPr varScale="1">
        <p:scale>
          <a:sx n="73" d="100"/>
          <a:sy n="73" d="100"/>
        </p:scale>
        <p:origin x="486" y="66"/>
      </p:cViewPr>
      <p:guideLst>
        <p:guide pos="360"/>
        <p:guide orient="horz" pos="1512"/>
        <p:guide pos="3864"/>
        <p:guide pos="7344"/>
        <p:guide orient="horz" pos="3912"/>
        <p:guide orient="horz" pos="3720"/>
      </p:guideLst>
    </p:cSldViewPr>
  </p:slid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u, Lizhe" userId="376e1448-d223-4ed3-9430-39d577705440" providerId="ADAL" clId="{3520690B-062C-4F6E-9E98-ED1E07D6D128}"/>
    <pc:docChg chg="addSld modSld">
      <pc:chgData name="Du, Lizhe" userId="376e1448-d223-4ed3-9430-39d577705440" providerId="ADAL" clId="{3520690B-062C-4F6E-9E98-ED1E07D6D128}" dt="2022-07-14T05:03:12.288" v="0"/>
      <pc:docMkLst>
        <pc:docMk/>
      </pc:docMkLst>
      <pc:sldChg chg="add">
        <pc:chgData name="Du, Lizhe" userId="376e1448-d223-4ed3-9430-39d577705440" providerId="ADAL" clId="{3520690B-062C-4F6E-9E98-ED1E07D6D128}" dt="2022-07-14T05:03:12.288" v="0"/>
        <pc:sldMkLst>
          <pc:docMk/>
          <pc:sldMk cId="2546619687" sldId="2145707421"/>
        </pc:sldMkLst>
      </pc:sldChg>
    </pc:docChg>
  </pc:docChgLst>
  <pc:docChgLst>
    <pc:chgData name="Du, Lizhe" userId="376e1448-d223-4ed3-9430-39d577705440" providerId="ADAL" clId="{0DE0B9C7-F9EB-4D77-A868-81A38AE1A5C3}"/>
    <pc:docChg chg="undo custSel delSld modSld">
      <pc:chgData name="Du, Lizhe" userId="376e1448-d223-4ed3-9430-39d577705440" providerId="ADAL" clId="{0DE0B9C7-F9EB-4D77-A868-81A38AE1A5C3}" dt="2022-07-14T05:55:15.206" v="39"/>
      <pc:docMkLst>
        <pc:docMk/>
      </pc:docMkLst>
      <pc:sldChg chg="modSp mod">
        <pc:chgData name="Du, Lizhe" userId="376e1448-d223-4ed3-9430-39d577705440" providerId="ADAL" clId="{0DE0B9C7-F9EB-4D77-A868-81A38AE1A5C3}" dt="2022-07-14T05:55:15.206" v="39"/>
        <pc:sldMkLst>
          <pc:docMk/>
          <pc:sldMk cId="3023462470" sldId="2145707414"/>
        </pc:sldMkLst>
        <pc:spChg chg="mod">
          <ac:chgData name="Du, Lizhe" userId="376e1448-d223-4ed3-9430-39d577705440" providerId="ADAL" clId="{0DE0B9C7-F9EB-4D77-A868-81A38AE1A5C3}" dt="2022-07-14T05:55:15.206" v="39"/>
          <ac:spMkLst>
            <pc:docMk/>
            <pc:sldMk cId="3023462470" sldId="2145707414"/>
            <ac:spMk id="26" creationId="{3F38560E-4574-423A-BD23-01E0C88CC391}"/>
          </ac:spMkLst>
        </pc:spChg>
      </pc:sldChg>
      <pc:sldChg chg="del">
        <pc:chgData name="Du, Lizhe" userId="376e1448-d223-4ed3-9430-39d577705440" providerId="ADAL" clId="{0DE0B9C7-F9EB-4D77-A868-81A38AE1A5C3}" dt="2022-07-14T05:04:14.535" v="0" actId="47"/>
        <pc:sldMkLst>
          <pc:docMk/>
          <pc:sldMk cId="2267510754" sldId="2145707416"/>
        </pc:sldMkLst>
      </pc:sldChg>
      <pc:sldChg chg="addSp delSp modSp mod">
        <pc:chgData name="Du, Lizhe" userId="376e1448-d223-4ed3-9430-39d577705440" providerId="ADAL" clId="{0DE0B9C7-F9EB-4D77-A868-81A38AE1A5C3}" dt="2022-07-14T05:45:22.959" v="38" actId="478"/>
        <pc:sldMkLst>
          <pc:docMk/>
          <pc:sldMk cId="2305232207" sldId="2145707418"/>
        </pc:sldMkLst>
        <pc:spChg chg="add del mod">
          <ac:chgData name="Du, Lizhe" userId="376e1448-d223-4ed3-9430-39d577705440" providerId="ADAL" clId="{0DE0B9C7-F9EB-4D77-A868-81A38AE1A5C3}" dt="2022-07-14T05:45:12.476" v="18" actId="20577"/>
          <ac:spMkLst>
            <pc:docMk/>
            <pc:sldMk cId="2305232207" sldId="2145707418"/>
            <ac:spMk id="37" creationId="{679C66C8-6D79-A78B-5D99-ECD7E289E2DB}"/>
          </ac:spMkLst>
        </pc:spChg>
        <pc:spChg chg="mod">
          <ac:chgData name="Du, Lizhe" userId="376e1448-d223-4ed3-9430-39d577705440" providerId="ADAL" clId="{0DE0B9C7-F9EB-4D77-A868-81A38AE1A5C3}" dt="2022-07-14T05:45:19.873" v="37" actId="20577"/>
          <ac:spMkLst>
            <pc:docMk/>
            <pc:sldMk cId="2305232207" sldId="2145707418"/>
            <ac:spMk id="42" creationId="{3C34309A-D2B9-C1F6-5B4B-2D5EE1EB4C50}"/>
          </ac:spMkLst>
        </pc:spChg>
        <pc:spChg chg="mod">
          <ac:chgData name="Du, Lizhe" userId="376e1448-d223-4ed3-9430-39d577705440" providerId="ADAL" clId="{0DE0B9C7-F9EB-4D77-A868-81A38AE1A5C3}" dt="2022-07-14T05:45:00.933" v="3" actId="20577"/>
          <ac:spMkLst>
            <pc:docMk/>
            <pc:sldMk cId="2305232207" sldId="2145707418"/>
            <ac:spMk id="45" creationId="{61B529DB-FFB3-84E2-95E4-8B77C44A7902}"/>
          </ac:spMkLst>
        </pc:spChg>
        <pc:spChg chg="del">
          <ac:chgData name="Du, Lizhe" userId="376e1448-d223-4ed3-9430-39d577705440" providerId="ADAL" clId="{0DE0B9C7-F9EB-4D77-A868-81A38AE1A5C3}" dt="2022-07-14T05:45:22.959" v="38" actId="478"/>
          <ac:spMkLst>
            <pc:docMk/>
            <pc:sldMk cId="2305232207" sldId="2145707418"/>
            <ac:spMk id="47" creationId="{8F39092E-19C4-9BB1-1259-FDF75F45B371}"/>
          </ac:spMkLst>
        </pc:spChg>
        <pc:grpChg chg="add del">
          <ac:chgData name="Du, Lizhe" userId="376e1448-d223-4ed3-9430-39d577705440" providerId="ADAL" clId="{0DE0B9C7-F9EB-4D77-A868-81A38AE1A5C3}" dt="2022-07-14T05:45:01.547" v="4" actId="478"/>
          <ac:grpSpMkLst>
            <pc:docMk/>
            <pc:sldMk cId="2305232207" sldId="2145707418"/>
            <ac:grpSpMk id="38" creationId="{5E8D812F-2DE8-BE5E-B65A-9C43FBC76C0D}"/>
          </ac:grpSpMkLst>
        </pc:grpChg>
        <pc:grpChg chg="del">
          <ac:chgData name="Du, Lizhe" userId="376e1448-d223-4ed3-9430-39d577705440" providerId="ADAL" clId="{0DE0B9C7-F9EB-4D77-A868-81A38AE1A5C3}" dt="2022-07-14T05:45:22.959" v="38" actId="478"/>
          <ac:grpSpMkLst>
            <pc:docMk/>
            <pc:sldMk cId="2305232207" sldId="2145707418"/>
            <ac:grpSpMk id="48" creationId="{52879D51-AC8B-38D3-AE77-49AE6F77C19A}"/>
          </ac:grpSpMkLst>
        </pc:grpChg>
      </pc:sldChg>
      <pc:sldChg chg="del">
        <pc:chgData name="Du, Lizhe" userId="376e1448-d223-4ed3-9430-39d577705440" providerId="ADAL" clId="{0DE0B9C7-F9EB-4D77-A868-81A38AE1A5C3}" dt="2022-07-14T05:04:14.535" v="0" actId="47"/>
        <pc:sldMkLst>
          <pc:docMk/>
          <pc:sldMk cId="2546619687" sldId="2145707421"/>
        </pc:sldMkLst>
      </pc:sldChg>
    </pc:docChg>
  </pc:docChgLst>
  <pc:docChgLst>
    <pc:chgData name="Yu, Xiaoxiao 1" userId="44f0a567-3118-416c-9f99-a1777a8fbab7" providerId="ADAL" clId="{1E126F64-5ACA-4F9B-AF4E-9D5495F019BC}"/>
    <pc:docChg chg="undo custSel addSld delSld modSld">
      <pc:chgData name="Yu, Xiaoxiao 1" userId="44f0a567-3118-416c-9f99-a1777a8fbab7" providerId="ADAL" clId="{1E126F64-5ACA-4F9B-AF4E-9D5495F019BC}" dt="2022-07-14T04:59:38.945" v="1053" actId="20577"/>
      <pc:docMkLst>
        <pc:docMk/>
      </pc:docMkLst>
      <pc:sldChg chg="modSp mod">
        <pc:chgData name="Yu, Xiaoxiao 1" userId="44f0a567-3118-416c-9f99-a1777a8fbab7" providerId="ADAL" clId="{1E126F64-5ACA-4F9B-AF4E-9D5495F019BC}" dt="2022-07-14T04:47:40.472" v="953" actId="108"/>
        <pc:sldMkLst>
          <pc:docMk/>
          <pc:sldMk cId="414481663" sldId="16763917"/>
        </pc:sldMkLst>
        <pc:spChg chg="mod">
          <ac:chgData name="Yu, Xiaoxiao 1" userId="44f0a567-3118-416c-9f99-a1777a8fbab7" providerId="ADAL" clId="{1E126F64-5ACA-4F9B-AF4E-9D5495F019BC}" dt="2022-07-14T04:30:57.709" v="535" actId="20577"/>
          <ac:spMkLst>
            <pc:docMk/>
            <pc:sldMk cId="414481663" sldId="16763917"/>
            <ac:spMk id="71" creationId="{FDD6D0A4-781E-472A-982F-23F1DC21734D}"/>
          </ac:spMkLst>
        </pc:spChg>
        <pc:spChg chg="mod">
          <ac:chgData name="Yu, Xiaoxiao 1" userId="44f0a567-3118-416c-9f99-a1777a8fbab7" providerId="ADAL" clId="{1E126F64-5ACA-4F9B-AF4E-9D5495F019BC}" dt="2022-07-14T04:47:40.472" v="953" actId="108"/>
          <ac:spMkLst>
            <pc:docMk/>
            <pc:sldMk cId="414481663" sldId="16763917"/>
            <ac:spMk id="138" creationId="{8200873E-BA22-4C4C-A0D3-2F7B7436223C}"/>
          </ac:spMkLst>
        </pc:spChg>
        <pc:graphicFrameChg chg="modGraphic">
          <ac:chgData name="Yu, Xiaoxiao 1" userId="44f0a567-3118-416c-9f99-a1777a8fbab7" providerId="ADAL" clId="{1E126F64-5ACA-4F9B-AF4E-9D5495F019BC}" dt="2022-07-14T04:47:31.329" v="951" actId="108"/>
          <ac:graphicFrameMkLst>
            <pc:docMk/>
            <pc:sldMk cId="414481663" sldId="16763917"/>
            <ac:graphicFrameMk id="301" creationId="{75C99695-20DA-4EFE-982A-B8087D1E5740}"/>
          </ac:graphicFrameMkLst>
        </pc:graphicFrameChg>
      </pc:sldChg>
      <pc:sldChg chg="modSp mod">
        <pc:chgData name="Yu, Xiaoxiao 1" userId="44f0a567-3118-416c-9f99-a1777a8fbab7" providerId="ADAL" clId="{1E126F64-5ACA-4F9B-AF4E-9D5495F019BC}" dt="2022-07-14T03:42:53.280" v="3" actId="20577"/>
        <pc:sldMkLst>
          <pc:docMk/>
          <pc:sldMk cId="1960674542" sldId="2145707403"/>
        </pc:sldMkLst>
        <pc:spChg chg="mod">
          <ac:chgData name="Yu, Xiaoxiao 1" userId="44f0a567-3118-416c-9f99-a1777a8fbab7" providerId="ADAL" clId="{1E126F64-5ACA-4F9B-AF4E-9D5495F019BC}" dt="2022-07-14T03:42:53.280" v="3" actId="20577"/>
          <ac:spMkLst>
            <pc:docMk/>
            <pc:sldMk cId="1960674542" sldId="2145707403"/>
            <ac:spMk id="22" creationId="{30B08050-B1E6-43A1-A53E-EBEF6BFBB907}"/>
          </ac:spMkLst>
        </pc:spChg>
        <pc:spChg chg="mod">
          <ac:chgData name="Yu, Xiaoxiao 1" userId="44f0a567-3118-416c-9f99-a1777a8fbab7" providerId="ADAL" clId="{1E126F64-5ACA-4F9B-AF4E-9D5495F019BC}" dt="2022-07-14T03:42:49.600" v="1" actId="20577"/>
          <ac:spMkLst>
            <pc:docMk/>
            <pc:sldMk cId="1960674542" sldId="2145707403"/>
            <ac:spMk id="24" creationId="{831CC5DA-1CB5-4502-BBD1-AD5FD6462077}"/>
          </ac:spMkLst>
        </pc:spChg>
      </pc:sldChg>
      <pc:sldChg chg="modSp mod modNotesTx">
        <pc:chgData name="Yu, Xiaoxiao 1" userId="44f0a567-3118-416c-9f99-a1777a8fbab7" providerId="ADAL" clId="{1E126F64-5ACA-4F9B-AF4E-9D5495F019BC}" dt="2022-07-14T04:42:32.216" v="577" actId="255"/>
        <pc:sldMkLst>
          <pc:docMk/>
          <pc:sldMk cId="382447437" sldId="2145707408"/>
        </pc:sldMkLst>
        <pc:spChg chg="mod">
          <ac:chgData name="Yu, Xiaoxiao 1" userId="44f0a567-3118-416c-9f99-a1777a8fbab7" providerId="ADAL" clId="{1E126F64-5ACA-4F9B-AF4E-9D5495F019BC}" dt="2022-07-14T04:42:32.216" v="577" actId="255"/>
          <ac:spMkLst>
            <pc:docMk/>
            <pc:sldMk cId="382447437" sldId="2145707408"/>
            <ac:spMk id="29" creationId="{0227D5A5-F448-4976-BD6C-8D55F0EC584E}"/>
          </ac:spMkLst>
        </pc:spChg>
        <pc:spChg chg="mod">
          <ac:chgData name="Yu, Xiaoxiao 1" userId="44f0a567-3118-416c-9f99-a1777a8fbab7" providerId="ADAL" clId="{1E126F64-5ACA-4F9B-AF4E-9D5495F019BC}" dt="2022-07-14T04:17:46.037" v="414" actId="1076"/>
          <ac:spMkLst>
            <pc:docMk/>
            <pc:sldMk cId="382447437" sldId="2145707408"/>
            <ac:spMk id="53" creationId="{92720A14-0D52-4588-ABE0-EA7E704F88D8}"/>
          </ac:spMkLst>
        </pc:spChg>
      </pc:sldChg>
      <pc:sldChg chg="addSp delSp modSp mod modNotesTx">
        <pc:chgData name="Yu, Xiaoxiao 1" userId="44f0a567-3118-416c-9f99-a1777a8fbab7" providerId="ADAL" clId="{1E126F64-5ACA-4F9B-AF4E-9D5495F019BC}" dt="2022-07-14T04:43:26.777" v="905"/>
        <pc:sldMkLst>
          <pc:docMk/>
          <pc:sldMk cId="1173187882" sldId="2145707409"/>
        </pc:sldMkLst>
        <pc:spChg chg="mod">
          <ac:chgData name="Yu, Xiaoxiao 1" userId="44f0a567-3118-416c-9f99-a1777a8fbab7" providerId="ADAL" clId="{1E126F64-5ACA-4F9B-AF4E-9D5495F019BC}" dt="2022-07-14T04:43:26.733" v="893" actId="948"/>
          <ac:spMkLst>
            <pc:docMk/>
            <pc:sldMk cId="1173187882" sldId="2145707409"/>
            <ac:spMk id="4" creationId="{C29D124F-E734-457A-AEE9-0B1B55B766A1}"/>
          </ac:spMkLst>
        </pc:spChg>
        <pc:spChg chg="add del mod modVis">
          <ac:chgData name="Yu, Xiaoxiao 1" userId="44f0a567-3118-416c-9f99-a1777a8fbab7" providerId="ADAL" clId="{1E126F64-5ACA-4F9B-AF4E-9D5495F019BC}" dt="2022-07-14T04:43:14.712" v="671"/>
          <ac:spMkLst>
            <pc:docMk/>
            <pc:sldMk cId="1173187882" sldId="2145707409"/>
            <ac:spMk id="6" creationId="{16DEDD40-533E-43C5-A42E-BD3B54331FF1}"/>
          </ac:spMkLst>
        </pc:spChg>
        <pc:spChg chg="add del mod modVis">
          <ac:chgData name="Yu, Xiaoxiao 1" userId="44f0a567-3118-416c-9f99-a1777a8fbab7" providerId="ADAL" clId="{1E126F64-5ACA-4F9B-AF4E-9D5495F019BC}" dt="2022-07-14T04:43:15.370" v="733"/>
          <ac:spMkLst>
            <pc:docMk/>
            <pc:sldMk cId="1173187882" sldId="2145707409"/>
            <ac:spMk id="7" creationId="{33B2E133-A655-4329-B3C4-689004078544}"/>
          </ac:spMkLst>
        </pc:spChg>
        <pc:spChg chg="add del mod modVis">
          <ac:chgData name="Yu, Xiaoxiao 1" userId="44f0a567-3118-416c-9f99-a1777a8fbab7" providerId="ADAL" clId="{1E126F64-5ACA-4F9B-AF4E-9D5495F019BC}" dt="2022-07-14T04:43:19.263" v="791"/>
          <ac:spMkLst>
            <pc:docMk/>
            <pc:sldMk cId="1173187882" sldId="2145707409"/>
            <ac:spMk id="8" creationId="{CB5A69CB-9C00-421C-B82D-299E0401DB59}"/>
          </ac:spMkLst>
        </pc:spChg>
        <pc:spChg chg="add del mod modVis">
          <ac:chgData name="Yu, Xiaoxiao 1" userId="44f0a567-3118-416c-9f99-a1777a8fbab7" providerId="ADAL" clId="{1E126F64-5ACA-4F9B-AF4E-9D5495F019BC}" dt="2022-07-14T04:43:20.880" v="849"/>
          <ac:spMkLst>
            <pc:docMk/>
            <pc:sldMk cId="1173187882" sldId="2145707409"/>
            <ac:spMk id="9" creationId="{672AFA81-FF1A-4AA9-B5FD-FBE257A3EB12}"/>
          </ac:spMkLst>
        </pc:spChg>
        <pc:spChg chg="add del mod modVis">
          <ac:chgData name="Yu, Xiaoxiao 1" userId="44f0a567-3118-416c-9f99-a1777a8fbab7" providerId="ADAL" clId="{1E126F64-5ACA-4F9B-AF4E-9D5495F019BC}" dt="2022-07-14T04:43:26.750" v="903"/>
          <ac:spMkLst>
            <pc:docMk/>
            <pc:sldMk cId="1173187882" sldId="2145707409"/>
            <ac:spMk id="10" creationId="{62CAC8BC-6923-47BF-A032-047AAFC9F75C}"/>
          </ac:spMkLst>
        </pc:spChg>
        <pc:spChg chg="mod">
          <ac:chgData name="Yu, Xiaoxiao 1" userId="44f0a567-3118-416c-9f99-a1777a8fbab7" providerId="ADAL" clId="{1E126F64-5ACA-4F9B-AF4E-9D5495F019BC}" dt="2022-07-14T04:19:35.320" v="415" actId="13926"/>
          <ac:spMkLst>
            <pc:docMk/>
            <pc:sldMk cId="1173187882" sldId="2145707409"/>
            <ac:spMk id="18" creationId="{50D15E73-86A2-41F9-8E52-B7AEF9D1AAE6}"/>
          </ac:spMkLst>
        </pc:spChg>
        <pc:spChg chg="mod">
          <ac:chgData name="Yu, Xiaoxiao 1" userId="44f0a567-3118-416c-9f99-a1777a8fbab7" providerId="ADAL" clId="{1E126F64-5ACA-4F9B-AF4E-9D5495F019BC}" dt="2022-07-14T04:43:26.729" v="891"/>
          <ac:spMkLst>
            <pc:docMk/>
            <pc:sldMk cId="1173187882" sldId="2145707409"/>
            <ac:spMk id="69" creationId="{3F9CE7E3-38CF-44D1-97F0-0DA782DD6FFD}"/>
          </ac:spMkLst>
        </pc:spChg>
        <pc:spChg chg="mod">
          <ac:chgData name="Yu, Xiaoxiao 1" userId="44f0a567-3118-416c-9f99-a1777a8fbab7" providerId="ADAL" clId="{1E126F64-5ACA-4F9B-AF4E-9D5495F019BC}" dt="2022-07-14T04:43:20.874" v="837"/>
          <ac:spMkLst>
            <pc:docMk/>
            <pc:sldMk cId="1173187882" sldId="2145707409"/>
            <ac:spMk id="70" creationId="{89E9A652-A41D-443F-9640-835E8C4EF979}"/>
          </ac:spMkLst>
        </pc:spChg>
        <pc:spChg chg="mod">
          <ac:chgData name="Yu, Xiaoxiao 1" userId="44f0a567-3118-416c-9f99-a1777a8fbab7" providerId="ADAL" clId="{1E126F64-5ACA-4F9B-AF4E-9D5495F019BC}" dt="2022-07-14T04:43:26.730" v="892"/>
          <ac:spMkLst>
            <pc:docMk/>
            <pc:sldMk cId="1173187882" sldId="2145707409"/>
            <ac:spMk id="75" creationId="{2538D1CE-B79E-4960-8162-4D8F7D5531FB}"/>
          </ac:spMkLst>
        </pc:spChg>
        <pc:spChg chg="mod">
          <ac:chgData name="Yu, Xiaoxiao 1" userId="44f0a567-3118-416c-9f99-a1777a8fbab7" providerId="ADAL" clId="{1E126F64-5ACA-4F9B-AF4E-9D5495F019BC}" dt="2022-07-14T04:43:20.877" v="843"/>
          <ac:spMkLst>
            <pc:docMk/>
            <pc:sldMk cId="1173187882" sldId="2145707409"/>
            <ac:spMk id="76" creationId="{B4546C41-56F1-4EA8-AF0E-E950BD3EFAEA}"/>
          </ac:spMkLst>
        </pc:spChg>
        <pc:spChg chg="mod">
          <ac:chgData name="Yu, Xiaoxiao 1" userId="44f0a567-3118-416c-9f99-a1777a8fbab7" providerId="ADAL" clId="{1E126F64-5ACA-4F9B-AF4E-9D5495F019BC}" dt="2022-07-14T04:43:26.748" v="901"/>
          <ac:spMkLst>
            <pc:docMk/>
            <pc:sldMk cId="1173187882" sldId="2145707409"/>
            <ac:spMk id="183" creationId="{ED000E22-61D0-4784-98A6-2E682F1638BC}"/>
          </ac:spMkLst>
        </pc:spChg>
        <pc:spChg chg="mod">
          <ac:chgData name="Yu, Xiaoxiao 1" userId="44f0a567-3118-416c-9f99-a1777a8fbab7" providerId="ADAL" clId="{1E126F64-5ACA-4F9B-AF4E-9D5495F019BC}" dt="2022-07-14T04:43:26.747" v="897"/>
          <ac:spMkLst>
            <pc:docMk/>
            <pc:sldMk cId="1173187882" sldId="2145707409"/>
            <ac:spMk id="186" creationId="{4B153439-BD41-43FC-A329-B32DCF0788CF}"/>
          </ac:spMkLst>
        </pc:spChg>
        <pc:graphicFrameChg chg="mod">
          <ac:chgData name="Yu, Xiaoxiao 1" userId="44f0a567-3118-416c-9f99-a1777a8fbab7" providerId="ADAL" clId="{1E126F64-5ACA-4F9B-AF4E-9D5495F019BC}" dt="2022-07-14T04:43:26.777" v="905"/>
          <ac:graphicFrameMkLst>
            <pc:docMk/>
            <pc:sldMk cId="1173187882" sldId="2145707409"/>
            <ac:graphicFrameMk id="3" creationId="{6A88886B-D696-4AAA-9D18-8DB3B036F2F4}"/>
          </ac:graphicFrameMkLst>
        </pc:graphicFrameChg>
      </pc:sldChg>
      <pc:sldChg chg="modSp mod">
        <pc:chgData name="Yu, Xiaoxiao 1" userId="44f0a567-3118-416c-9f99-a1777a8fbab7" providerId="ADAL" clId="{1E126F64-5ACA-4F9B-AF4E-9D5495F019BC}" dt="2022-07-14T04:48:22.424" v="962" actId="20577"/>
        <pc:sldMkLst>
          <pc:docMk/>
          <pc:sldMk cId="170796174" sldId="2145707410"/>
        </pc:sldMkLst>
        <pc:spChg chg="mod">
          <ac:chgData name="Yu, Xiaoxiao 1" userId="44f0a567-3118-416c-9f99-a1777a8fbab7" providerId="ADAL" clId="{1E126F64-5ACA-4F9B-AF4E-9D5495F019BC}" dt="2022-07-14T04:05:41.541" v="191" actId="1076"/>
          <ac:spMkLst>
            <pc:docMk/>
            <pc:sldMk cId="170796174" sldId="2145707410"/>
            <ac:spMk id="64" creationId="{B0D12683-3C92-44E1-ADB3-02A05959E717}"/>
          </ac:spMkLst>
        </pc:spChg>
        <pc:spChg chg="mod">
          <ac:chgData name="Yu, Xiaoxiao 1" userId="44f0a567-3118-416c-9f99-a1777a8fbab7" providerId="ADAL" clId="{1E126F64-5ACA-4F9B-AF4E-9D5495F019BC}" dt="2022-07-14T04:39:47.882" v="549" actId="13926"/>
          <ac:spMkLst>
            <pc:docMk/>
            <pc:sldMk cId="170796174" sldId="2145707410"/>
            <ac:spMk id="97" creationId="{4D73FEA9-C5F0-43E8-8F69-8AFD5353607C}"/>
          </ac:spMkLst>
        </pc:spChg>
        <pc:spChg chg="mod">
          <ac:chgData name="Yu, Xiaoxiao 1" userId="44f0a567-3118-416c-9f99-a1777a8fbab7" providerId="ADAL" clId="{1E126F64-5ACA-4F9B-AF4E-9D5495F019BC}" dt="2022-07-14T04:48:22.424" v="962" actId="20577"/>
          <ac:spMkLst>
            <pc:docMk/>
            <pc:sldMk cId="170796174" sldId="2145707410"/>
            <ac:spMk id="102" creationId="{178BCADC-2155-4A6E-9707-65FA58EBCDD5}"/>
          </ac:spMkLst>
        </pc:spChg>
      </pc:sldChg>
      <pc:sldChg chg="modSp mod">
        <pc:chgData name="Yu, Xiaoxiao 1" userId="44f0a567-3118-416c-9f99-a1777a8fbab7" providerId="ADAL" clId="{1E126F64-5ACA-4F9B-AF4E-9D5495F019BC}" dt="2022-07-14T04:40:15.272" v="551" actId="20577"/>
        <pc:sldMkLst>
          <pc:docMk/>
          <pc:sldMk cId="4127268991" sldId="2145707413"/>
        </pc:sldMkLst>
        <pc:spChg chg="mod">
          <ac:chgData name="Yu, Xiaoxiao 1" userId="44f0a567-3118-416c-9f99-a1777a8fbab7" providerId="ADAL" clId="{1E126F64-5ACA-4F9B-AF4E-9D5495F019BC}" dt="2022-07-14T04:11:50.742" v="345" actId="20577"/>
          <ac:spMkLst>
            <pc:docMk/>
            <pc:sldMk cId="4127268991" sldId="2145707413"/>
            <ac:spMk id="53" creationId="{DBB7A11F-F0CB-4AB3-9241-D2E7845305C1}"/>
          </ac:spMkLst>
        </pc:spChg>
        <pc:spChg chg="mod">
          <ac:chgData name="Yu, Xiaoxiao 1" userId="44f0a567-3118-416c-9f99-a1777a8fbab7" providerId="ADAL" clId="{1E126F64-5ACA-4F9B-AF4E-9D5495F019BC}" dt="2022-07-14T04:40:15.272" v="551" actId="20577"/>
          <ac:spMkLst>
            <pc:docMk/>
            <pc:sldMk cId="4127268991" sldId="2145707413"/>
            <ac:spMk id="100" creationId="{B29D41D2-AB77-4E57-BFB4-E1610D6800C7}"/>
          </ac:spMkLst>
        </pc:spChg>
      </pc:sldChg>
      <pc:sldChg chg="addSp modSp mod modNotesTx">
        <pc:chgData name="Yu, Xiaoxiao 1" userId="44f0a567-3118-416c-9f99-a1777a8fbab7" providerId="ADAL" clId="{1E126F64-5ACA-4F9B-AF4E-9D5495F019BC}" dt="2022-07-14T04:41:47.583" v="572" actId="108"/>
        <pc:sldMkLst>
          <pc:docMk/>
          <pc:sldMk cId="3023462470" sldId="2145707414"/>
        </pc:sldMkLst>
        <pc:spChg chg="mod">
          <ac:chgData name="Yu, Xiaoxiao 1" userId="44f0a567-3118-416c-9f99-a1777a8fbab7" providerId="ADAL" clId="{1E126F64-5ACA-4F9B-AF4E-9D5495F019BC}" dt="2022-07-14T04:40:39.424" v="556" actId="13926"/>
          <ac:spMkLst>
            <pc:docMk/>
            <pc:sldMk cId="3023462470" sldId="2145707414"/>
            <ac:spMk id="22" creationId="{C60824BA-9C33-46FF-A339-A99B4B8AF8A2}"/>
          </ac:spMkLst>
        </pc:spChg>
        <pc:spChg chg="add mod">
          <ac:chgData name="Yu, Xiaoxiao 1" userId="44f0a567-3118-416c-9f99-a1777a8fbab7" providerId="ADAL" clId="{1E126F64-5ACA-4F9B-AF4E-9D5495F019BC}" dt="2022-07-14T04:41:47.583" v="572" actId="108"/>
          <ac:spMkLst>
            <pc:docMk/>
            <pc:sldMk cId="3023462470" sldId="2145707414"/>
            <ac:spMk id="27" creationId="{423F4C27-90AF-4737-A06E-BF5D7F1E7FF5}"/>
          </ac:spMkLst>
        </pc:spChg>
      </pc:sldChg>
      <pc:sldChg chg="addSp delSp modSp mod">
        <pc:chgData name="Yu, Xiaoxiao 1" userId="44f0a567-3118-416c-9f99-a1777a8fbab7" providerId="ADAL" clId="{1E126F64-5ACA-4F9B-AF4E-9D5495F019BC}" dt="2022-07-14T04:59:38.945" v="1053" actId="20577"/>
        <pc:sldMkLst>
          <pc:docMk/>
          <pc:sldMk cId="2267510754" sldId="2145707416"/>
        </pc:sldMkLst>
        <pc:spChg chg="add mod">
          <ac:chgData name="Yu, Xiaoxiao 1" userId="44f0a567-3118-416c-9f99-a1777a8fbab7" providerId="ADAL" clId="{1E126F64-5ACA-4F9B-AF4E-9D5495F019BC}" dt="2022-07-14T04:59:31.527" v="1050" actId="1076"/>
          <ac:spMkLst>
            <pc:docMk/>
            <pc:sldMk cId="2267510754" sldId="2145707416"/>
            <ac:spMk id="12" creationId="{5BA48E02-9B6B-4801-BA05-E3D867369F17}"/>
          </ac:spMkLst>
        </pc:spChg>
        <pc:spChg chg="add del mod">
          <ac:chgData name="Yu, Xiaoxiao 1" userId="44f0a567-3118-416c-9f99-a1777a8fbab7" providerId="ADAL" clId="{1E126F64-5ACA-4F9B-AF4E-9D5495F019BC}" dt="2022-07-14T04:57:11.474" v="1019" actId="478"/>
          <ac:spMkLst>
            <pc:docMk/>
            <pc:sldMk cId="2267510754" sldId="2145707416"/>
            <ac:spMk id="13" creationId="{BE9618A7-3B14-4B33-8A58-5BBF239D7B2B}"/>
          </ac:spMkLst>
        </pc:spChg>
        <pc:spChg chg="add del mod">
          <ac:chgData name="Yu, Xiaoxiao 1" userId="44f0a567-3118-416c-9f99-a1777a8fbab7" providerId="ADAL" clId="{1E126F64-5ACA-4F9B-AF4E-9D5495F019BC}" dt="2022-07-14T04:56:29.948" v="1004"/>
          <ac:spMkLst>
            <pc:docMk/>
            <pc:sldMk cId="2267510754" sldId="2145707416"/>
            <ac:spMk id="15" creationId="{AF82F59D-15D9-412A-8DA3-EC3F2FEB8E69}"/>
          </ac:spMkLst>
        </pc:spChg>
        <pc:graphicFrameChg chg="mod modGraphic">
          <ac:chgData name="Yu, Xiaoxiao 1" userId="44f0a567-3118-416c-9f99-a1777a8fbab7" providerId="ADAL" clId="{1E126F64-5ACA-4F9B-AF4E-9D5495F019BC}" dt="2022-07-14T04:59:38.945" v="1053" actId="20577"/>
          <ac:graphicFrameMkLst>
            <pc:docMk/>
            <pc:sldMk cId="2267510754" sldId="2145707416"/>
            <ac:graphicFrameMk id="3" creationId="{198C99C4-F252-4AC0-9BF0-49F66A91B52E}"/>
          </ac:graphicFrameMkLst>
        </pc:graphicFrameChg>
      </pc:sldChg>
      <pc:sldChg chg="addSp modSp del mod modNotesTx">
        <pc:chgData name="Yu, Xiaoxiao 1" userId="44f0a567-3118-416c-9f99-a1777a8fbab7" providerId="ADAL" clId="{1E126F64-5ACA-4F9B-AF4E-9D5495F019BC}" dt="2022-07-14T04:32:12.827" v="537" actId="47"/>
        <pc:sldMkLst>
          <pc:docMk/>
          <pc:sldMk cId="877436658" sldId="2145707419"/>
        </pc:sldMkLst>
        <pc:spChg chg="mod">
          <ac:chgData name="Yu, Xiaoxiao 1" userId="44f0a567-3118-416c-9f99-a1777a8fbab7" providerId="ADAL" clId="{1E126F64-5ACA-4F9B-AF4E-9D5495F019BC}" dt="2022-07-14T04:23:11.049" v="439" actId="1076"/>
          <ac:spMkLst>
            <pc:docMk/>
            <pc:sldMk cId="877436658" sldId="2145707419"/>
            <ac:spMk id="10" creationId="{0064E7DC-EBCE-4C03-AEA5-1750479F86D2}"/>
          </ac:spMkLst>
        </pc:spChg>
        <pc:spChg chg="add mod">
          <ac:chgData name="Yu, Xiaoxiao 1" userId="44f0a567-3118-416c-9f99-a1777a8fbab7" providerId="ADAL" clId="{1E126F64-5ACA-4F9B-AF4E-9D5495F019BC}" dt="2022-07-14T04:23:37.394" v="456" actId="20577"/>
          <ac:spMkLst>
            <pc:docMk/>
            <pc:sldMk cId="877436658" sldId="2145707419"/>
            <ac:spMk id="36" creationId="{9886B27D-B9E2-4FBD-9CDF-520A0F70E3FE}"/>
          </ac:spMkLst>
        </pc:spChg>
        <pc:graphicFrameChg chg="modGraphic">
          <ac:chgData name="Yu, Xiaoxiao 1" userId="44f0a567-3118-416c-9f99-a1777a8fbab7" providerId="ADAL" clId="{1E126F64-5ACA-4F9B-AF4E-9D5495F019BC}" dt="2022-07-14T04:23:08.898" v="438" actId="947"/>
          <ac:graphicFrameMkLst>
            <pc:docMk/>
            <pc:sldMk cId="877436658" sldId="2145707419"/>
            <ac:graphicFrameMk id="13" creationId="{40CD0186-6C62-4DE1-916B-46AB6AD7FB9B}"/>
          </ac:graphicFrameMkLst>
        </pc:graphicFrameChg>
      </pc:sldChg>
      <pc:sldChg chg="modSp add mod">
        <pc:chgData name="Yu, Xiaoxiao 1" userId="44f0a567-3118-416c-9f99-a1777a8fbab7" providerId="ADAL" clId="{1E126F64-5ACA-4F9B-AF4E-9D5495F019BC}" dt="2022-07-14T04:47:21.075" v="945"/>
        <pc:sldMkLst>
          <pc:docMk/>
          <pc:sldMk cId="3055369697" sldId="2145707420"/>
        </pc:sldMkLst>
        <pc:spChg chg="mod">
          <ac:chgData name="Yu, Xiaoxiao 1" userId="44f0a567-3118-416c-9f99-a1777a8fbab7" providerId="ADAL" clId="{1E126F64-5ACA-4F9B-AF4E-9D5495F019BC}" dt="2022-07-14T04:43:53.912" v="907" actId="404"/>
          <ac:spMkLst>
            <pc:docMk/>
            <pc:sldMk cId="3055369697" sldId="2145707420"/>
            <ac:spMk id="10" creationId="{0064E7DC-EBCE-4C03-AEA5-1750479F86D2}"/>
          </ac:spMkLst>
        </pc:spChg>
        <pc:spChg chg="mod">
          <ac:chgData name="Yu, Xiaoxiao 1" userId="44f0a567-3118-416c-9f99-a1777a8fbab7" providerId="ADAL" clId="{1E126F64-5ACA-4F9B-AF4E-9D5495F019BC}" dt="2022-07-14T04:33:54.691" v="544" actId="1076"/>
          <ac:spMkLst>
            <pc:docMk/>
            <pc:sldMk cId="3055369697" sldId="2145707420"/>
            <ac:spMk id="36" creationId="{BAB50792-C75F-D76A-5AFD-8B09EC3A77D5}"/>
          </ac:spMkLst>
        </pc:spChg>
        <pc:graphicFrameChg chg="mod modGraphic">
          <ac:chgData name="Yu, Xiaoxiao 1" userId="44f0a567-3118-416c-9f99-a1777a8fbab7" providerId="ADAL" clId="{1E126F64-5ACA-4F9B-AF4E-9D5495F019BC}" dt="2022-07-14T04:47:21.075" v="945"/>
          <ac:graphicFrameMkLst>
            <pc:docMk/>
            <pc:sldMk cId="3055369697" sldId="2145707420"/>
            <ac:graphicFrameMk id="13" creationId="{40CD0186-6C62-4DE1-916B-46AB6AD7FB9B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585825027685493E-2"/>
          <c:y val="4.1401273885350316E-2"/>
          <c:w val="0.884828349944629"/>
          <c:h val="0.9171974522292993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21</c:v>
                </c:pt>
                <c:pt idx="1">
                  <c:v>5</c:v>
                </c:pt>
                <c:pt idx="2">
                  <c:v>3</c:v>
                </c:pt>
                <c:pt idx="3">
                  <c:v>1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CE-496F-8DA4-06FD62D03E36}"/>
            </c:ext>
          </c:extLst>
        </c:ser>
        <c:ser>
          <c:idx val="1"/>
          <c:order val="1"/>
          <c:spPr>
            <a:solidFill>
              <a:srgbClr val="FF675C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21</c:v>
                </c:pt>
                <c:pt idx="1">
                  <c:v>9</c:v>
                </c:pt>
                <c:pt idx="2">
                  <c:v>1</c:v>
                </c:pt>
                <c:pt idx="3">
                  <c:v>12</c:v>
                </c:pt>
                <c:pt idx="4">
                  <c:v>10</c:v>
                </c:pt>
                <c:pt idx="5">
                  <c:v>3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CE-496F-8DA4-06FD62D03E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99238352"/>
        <c:axId val="1"/>
      </c:barChart>
      <c:catAx>
        <c:axId val="1099238352"/>
        <c:scaling>
          <c:orientation val="maxMin"/>
        </c:scaling>
        <c:delete val="0"/>
        <c:axPos val="r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2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992383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722627737226276E-2"/>
          <c:y val="4.4330775788576297E-2"/>
          <c:w val="0.95255474452554745"/>
          <c:h val="0.9113384484228473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53</c:v>
                </c:pt>
                <c:pt idx="1">
                  <c:v>39</c:v>
                </c:pt>
                <c:pt idx="2">
                  <c:v>20</c:v>
                </c:pt>
                <c:pt idx="3">
                  <c:v>31</c:v>
                </c:pt>
                <c:pt idx="4">
                  <c:v>20</c:v>
                </c:pt>
                <c:pt idx="5">
                  <c:v>6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04-4128-9EF3-9A05C690A5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57482680"/>
        <c:axId val="1"/>
      </c:barChart>
      <c:catAx>
        <c:axId val="9574826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574826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25007B-D45A-4AFC-BED2-C9CA6DD3A7C6}" type="datetimeFigureOut">
              <a:rPr lang="zh-CN" altLang="en-US" smtClean="0"/>
              <a:t>2022/7/14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6E82B3-4566-4C2E-854A-AB9AE37DD1E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8443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63178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标黄色需要添加文献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514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4968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1]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注射用维布妥昔单抗（安适利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）说明书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2]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中国临床肿瘤协会（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SCO</a:t>
            </a:r>
            <a:r>
              <a:rPr lang="zh-CN" altLang="e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）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淋巴瘤诊疗指南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1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版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757380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  <a:t>[1] </a:t>
            </a:r>
            <a:r>
              <a:rPr lang="en-US" altLang="zh-CN" b="0" i="0" dirty="0">
                <a:solidFill>
                  <a:srgbClr val="242424"/>
                </a:solidFill>
                <a:effectLst/>
                <a:latin typeface="-apple-system"/>
              </a:rPr>
              <a:t>BLOOD, 21 DECEMBER 2017 x VOLUME 130, NUMBER 25 Five-year results of brentuximab </a:t>
            </a:r>
            <a:r>
              <a:rPr lang="en-US" altLang="zh-CN" b="0" i="0" dirty="0" err="1">
                <a:solidFill>
                  <a:srgbClr val="242424"/>
                </a:solidFill>
                <a:effectLst/>
                <a:latin typeface="-apple-system"/>
              </a:rPr>
              <a:t>vedotin</a:t>
            </a:r>
            <a:r>
              <a:rPr lang="en-US" altLang="zh-CN" b="0" i="0" dirty="0">
                <a:solidFill>
                  <a:srgbClr val="242424"/>
                </a:solidFill>
                <a:effectLst/>
                <a:latin typeface="-apple-system"/>
              </a:rPr>
              <a:t> in patients with relapsed or refractory systemic anaplastic large cell lymphoma</a:t>
            </a:r>
            <a:endParaRPr lang="en-US" altLang="zh-CN" sz="1200" b="0" i="0" u="none" strike="noStrike" baseline="0" dirty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</a:t>
            </a:r>
            <a:r>
              <a:rPr lang="en-US" altLang="zh-CN" b="0" i="0" dirty="0">
                <a:solidFill>
                  <a:srgbClr val="242424"/>
                </a:solidFill>
                <a:effectLst/>
                <a:latin typeface="-apple-system"/>
              </a:rPr>
              <a:t> Survival of Patients With Peripheral T-Cell Lymphoma After First Relapse or Progression: Spectrum of Disease and Rare Long-Term Survivors</a:t>
            </a:r>
            <a:endParaRPr lang="en-US" altLang="zh-CN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TBD or </a:t>
            </a:r>
            <a:r>
              <a:rPr lang="en-US" altLang="zh-CN" b="0" i="0" dirty="0">
                <a:solidFill>
                  <a:srgbClr val="242424"/>
                </a:solidFill>
                <a:effectLst/>
                <a:latin typeface="-apple-system"/>
              </a:rPr>
              <a:t>C. Martínez et al. Annals of Oncology, 2013;00: 1-5.</a:t>
            </a:r>
            <a:endParaRPr lang="en" altLang="zh-CN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</a:t>
            </a:r>
            <a:r>
              <a:rPr lang="en-US" altLang="zh-CN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en-US" altLang="zh-CN" b="0" i="0" dirty="0" err="1">
                <a:solidFill>
                  <a:srgbClr val="242424"/>
                </a:solidFill>
                <a:effectLst/>
                <a:latin typeface="-apple-system"/>
              </a:rPr>
              <a:t>Diamandidou</a:t>
            </a:r>
            <a:r>
              <a:rPr lang="en-US" altLang="zh-CN" b="0" i="0" dirty="0">
                <a:solidFill>
                  <a:srgbClr val="242424"/>
                </a:solidFill>
                <a:effectLst/>
                <a:latin typeface="-apple-system"/>
              </a:rPr>
              <a:t> E, Colome M, </a:t>
            </a:r>
            <a:r>
              <a:rPr lang="en-US" altLang="zh-CN" b="0" i="0" dirty="0" err="1">
                <a:solidFill>
                  <a:srgbClr val="242424"/>
                </a:solidFill>
                <a:effectLst/>
                <a:latin typeface="-apple-system"/>
              </a:rPr>
              <a:t>Fayad</a:t>
            </a:r>
            <a:r>
              <a:rPr lang="en-US" altLang="zh-CN" b="0" i="0" dirty="0">
                <a:solidFill>
                  <a:srgbClr val="242424"/>
                </a:solidFill>
                <a:effectLst/>
                <a:latin typeface="-apple-system"/>
              </a:rPr>
              <a:t> L, </a:t>
            </a:r>
            <a:r>
              <a:rPr lang="en-US" altLang="zh-CN" b="0" i="0" dirty="0" err="1">
                <a:solidFill>
                  <a:srgbClr val="242424"/>
                </a:solidFill>
                <a:effectLst/>
                <a:latin typeface="-apple-system"/>
              </a:rPr>
              <a:t>Duvic</a:t>
            </a:r>
            <a:r>
              <a:rPr lang="en-US" altLang="zh-CN" b="0" i="0" dirty="0">
                <a:solidFill>
                  <a:srgbClr val="242424"/>
                </a:solidFill>
                <a:effectLst/>
                <a:latin typeface="-apple-system"/>
              </a:rPr>
              <a:t> M, </a:t>
            </a:r>
            <a:r>
              <a:rPr lang="en-US" altLang="zh-CN" b="0" i="0" dirty="0" err="1">
                <a:solidFill>
                  <a:srgbClr val="242424"/>
                </a:solidFill>
                <a:effectLst/>
                <a:latin typeface="-apple-system"/>
              </a:rPr>
              <a:t>Kurzrock</a:t>
            </a:r>
            <a:r>
              <a:rPr lang="en-US" altLang="zh-CN" b="0" i="0" dirty="0">
                <a:solidFill>
                  <a:srgbClr val="242424"/>
                </a:solidFill>
                <a:effectLst/>
                <a:latin typeface="-apple-system"/>
              </a:rPr>
              <a:t> R. Prognostic factor analysis in mycosis fungoides/Sezary syndrome. J Am </a:t>
            </a:r>
            <a:r>
              <a:rPr lang="en-US" altLang="zh-CN" b="0" i="0" dirty="0" err="1">
                <a:solidFill>
                  <a:srgbClr val="242424"/>
                </a:solidFill>
                <a:effectLst/>
                <a:latin typeface="-apple-system"/>
              </a:rPr>
              <a:t>Acad</a:t>
            </a:r>
            <a:r>
              <a:rPr lang="en-US" altLang="zh-CN" b="0" i="0" dirty="0">
                <a:solidFill>
                  <a:srgbClr val="242424"/>
                </a:solidFill>
                <a:effectLst/>
                <a:latin typeface="-apple-system"/>
              </a:rPr>
              <a:t> Dermatol 1999;40: 914-24</a:t>
            </a:r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56317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1]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 B, et al. Five-Year Results of Brentuximab 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otin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Patients with Relapsed or Refractory Systemic Anaplastic Large Cell Lymphoma. Blood. 2017 Dec 21;130(25):2709-2717</a:t>
            </a:r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dirty="0"/>
              <a:t>[2]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Younes A et al. Results of a pivotal phase II study of brentuximab 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otin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or patients with relapsed or refractory Hodgkin's lymphoma. J Clin Oncol. 2012 Jun 20;30(18):2183-9</a:t>
            </a:r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kumimoji="1" lang="en-US" altLang="zh-CN" dirty="0"/>
          </a:p>
          <a:p>
            <a:r>
              <a:rPr kumimoji="1" lang="en-US" altLang="zh-CN" dirty="0"/>
              <a:t>[4] DHAP</a:t>
            </a:r>
            <a:r>
              <a:rPr kumimoji="1" lang="zh-CN" altLang="en-US" dirty="0"/>
              <a:t>用</a:t>
            </a:r>
            <a:r>
              <a:rPr kumimoji="1" lang="en-US" altLang="zh-CN" dirty="0"/>
              <a:t>li </a:t>
            </a:r>
            <a:r>
              <a:rPr kumimoji="1" lang="en-US" altLang="zh-CN" dirty="0" err="1"/>
              <a:t>zhe</a:t>
            </a:r>
            <a:r>
              <a:rPr kumimoji="1" lang="zh-CN" altLang="en-US" dirty="0"/>
              <a:t>发得文献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32754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6E82B3-4566-4C2E-854A-AB9AE37DD1E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83164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1]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 B, et al. Five-Year Results of Brentuximab 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otin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Patients with Relapsed or Refractory Systemic Anaplastic Large Cell Lymphoma. Blood. 2017 Dec 21;130(25):2709-2717</a:t>
            </a:r>
          </a:p>
          <a:p>
            <a:pPr lvl="0"/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2]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ng Y, Guo Y, Huang H, Li W,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X, Feng J, Xu W, Miao H, Kinley J, Song G, Dai Y, Wang H, Zhu J. Phase II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learm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udy of brentuximab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otin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Chinese patients with relapsed/refractory classical Hodgkin lymphoma or systemic anaplastic large cell lymphoma. Expert Rev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l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21 Sep;14(9):867-875. 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3]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inzani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L,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sse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, Radford J,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onukan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,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onthapally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. Experience of brentuximab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otin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relapsed/refractory Hodgkin lymphoma and relapsed/refractory systemic anaplastic large-cell lymphoma in the Named Patient Program: Review of the literature. Crit Rev Oncol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l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15 Sep;95(3):359-69.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4]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中国临床肿瘤协会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SCO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）淋巴瘤诊疗指南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2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版</a:t>
            </a:r>
            <a:endParaRPr lang="en-US" altLang="zh-CN" sz="1800" kern="100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5]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tional Comprehensive Cancer Network (NCCN). NCCN Clinical Practice Guidelines in Oncology ( NCCN Guidelines®) for T-Cell Lymphomas, v2.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</a:t>
            </a:r>
            <a:r>
              <a:rPr lang="de-DE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chenauer DA, et al. Ann </a:t>
            </a:r>
            <a:r>
              <a:rPr lang="de-DE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col</a:t>
            </a:r>
            <a:r>
              <a:rPr lang="de-DE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8 Oct 1;29(Supplement_4):iv19-iv29</a:t>
            </a:r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27942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1]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bert C et al. Five-year survival and durability results of brentuximab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otin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patients with relapsed or refractory Hodgkin lymphoma. Blood, 2016;128(12):1562-6; </a:t>
            </a:r>
          </a:p>
          <a:p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2]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ng Y, Guo Y, Huang H, Li W,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X, Feng J, Xu W, Miao H, Kinley J, Song G, Dai Y, Wang H, Zhu J. Phase II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learm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udy of brentuximab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otin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Chinese patients with relapsed/refractory classical Hodgkin lymphoma or systemic anaplastic large cell lymphoma. Expert Rev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l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21 Sep;14(9):867-875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3] B. von </a:t>
            </a:r>
            <a:r>
              <a:rPr lang="en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esckow</a:t>
            </a:r>
            <a:r>
              <a:rPr lang="e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. Bergamasco, F. </a:t>
            </a:r>
            <a:r>
              <a:rPr lang="en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inchese</a:t>
            </a:r>
            <a:r>
              <a:rPr lang="e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t al. </a:t>
            </a:r>
            <a:r>
              <a:rPr lang="e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ffectiveness of brentuximab </a:t>
            </a:r>
            <a:r>
              <a:rPr lang="en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otin</a:t>
            </a:r>
            <a:r>
              <a:rPr lang="e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relapsed/refractory classic Hodgkin lymphoma: A systematic review and meta- analysis. Annals of Oncology.2020.08.006. </a:t>
            </a:r>
            <a:endParaRPr lang="en" altLang="zh-CN" dirty="0"/>
          </a:p>
          <a:p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4]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delleine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uvic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t al. Results of a Phase II Trial of Brentuximab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otin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or CD30+ Cutaneous T-Cell Lymphoma and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ymphomatoid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pulosis. J Clin Oncol, 2015;33:3759-3765.</a:t>
            </a:r>
          </a:p>
          <a:p>
            <a:pPr lvl="0"/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5]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中国临床肿瘤协会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SCO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）淋巴瘤诊疗指南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2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版</a:t>
            </a:r>
            <a:endParaRPr lang="en-US" altLang="zh-CN" sz="1800" kern="100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6]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tional Comprehensive Cancer Network (NCCN). NCCN Clinical Practice Guidelines in Oncology ( NCCN Guidelines®) for T-Cell Lymphomas, v2.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</a:t>
            </a:r>
            <a:r>
              <a:rPr lang="de-DE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chenauer DA, et al. Ann </a:t>
            </a:r>
            <a:r>
              <a:rPr lang="de-DE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col</a:t>
            </a:r>
            <a:r>
              <a:rPr lang="de-DE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8 Oct 1;29(Supplement_4):iv19-iv29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78690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noProof="0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[1] Francisco JA, et al. Blood 2003;102:1458–65.</a:t>
            </a:r>
          </a:p>
          <a:p>
            <a:r>
              <a:rPr lang="en-US" altLang="zh-CN" noProof="0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[2] Fromm JR, et al. Presented at the 52nd Annual Meeting of the American Society of Hematology, November 2010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zh-CN" noProof="0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[</a:t>
            </a:r>
            <a:r>
              <a:rPr lang="en-US" altLang="zh-CN" noProof="0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3</a:t>
            </a:r>
            <a:r>
              <a:rPr lang="en-GB" altLang="zh-CN" noProof="0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] </a:t>
            </a:r>
            <a:r>
              <a:rPr lang="en-GB" altLang="zh-CN" noProof="0" dirty="0" err="1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Okeley</a:t>
            </a:r>
            <a:r>
              <a:rPr lang="en-GB" altLang="zh-CN" noProof="0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 NM, et al. Clin Cancer Res 2010;16:888–97. 5. van de </a:t>
            </a:r>
            <a:r>
              <a:rPr lang="en-GB" altLang="zh-CN" noProof="0" dirty="0" err="1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Donk</a:t>
            </a:r>
            <a:r>
              <a:rPr lang="en-GB" altLang="zh-CN" noProof="0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 NWCJ &amp; </a:t>
            </a:r>
            <a:r>
              <a:rPr lang="en-GB" altLang="zh-CN" noProof="0" dirty="0" err="1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Dhimolea</a:t>
            </a:r>
            <a:r>
              <a:rPr lang="en-GB" altLang="zh-CN" noProof="0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 E. </a:t>
            </a:r>
            <a:r>
              <a:rPr lang="en-GB" altLang="zh-CN" noProof="0" dirty="0" err="1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MAbs</a:t>
            </a:r>
            <a:r>
              <a:rPr lang="en-GB" altLang="zh-CN" noProof="0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 2012;4:458–65. 6. Cancer Res (2015) 75 (7): 1376–1387.</a:t>
            </a:r>
            <a:endParaRPr lang="en-US" altLang="zh-CN" noProof="0" dirty="0">
              <a:latin typeface="微软雅黑" panose="020B0503020204020204" charset="-122"/>
              <a:ea typeface="微软雅黑" panose="020B0503020204020204" charset="-122"/>
              <a:sym typeface="Arial" panose="020B0604020202020204" pitchFamily="34" charset="0"/>
            </a:endParaRPr>
          </a:p>
          <a:p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4]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国家药监局药品审评中心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《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技术审评报告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》</a:t>
            </a:r>
          </a:p>
          <a:p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nter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E Sievers. The discovery and development of brentuximab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otin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or use in relapsed Hodgkin lymphoma and systemic anaplastic large cell lymphoma. Nat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otechnol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0, 631–637 (2012). </a:t>
            </a:r>
          </a:p>
          <a:p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bbelstein,U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oll. Targeting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mour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supportive cellular machineries in anticancer drug development. Nat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vDrug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cov</a:t>
            </a:r>
            <a:r>
              <a:rPr lang="en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3, 179–196 (2014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</a:t>
            </a:r>
            <a:endParaRPr lang="en" altLang="zh-CN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92841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459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771457" y="4143895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Bild 5">
            <a:extLst>
              <a:ext uri="{FF2B5EF4-FFF2-40B4-BE49-F238E27FC236}">
                <a16:creationId xmlns:a16="http://schemas.microsoft.com/office/drawing/2014/main" id="{211B8A58-0EB0-6348-B49B-AE3B0CAC21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303762" y="6048585"/>
            <a:ext cx="1880804" cy="10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6350"/>
            <a:ext cx="12192000" cy="3429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566519-5BD4-474D-8621-1163859E51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424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4495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6C426B7-93F1-4BE9-9F89-6951CEF90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B8F69ACE-038D-4451-9B8B-AA8D5961D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B06D5-220A-4E3C-8B27-7403082B8ACB}" type="datetimeFigureOut">
              <a:rPr lang="zh-CN" altLang="en-US" smtClean="0"/>
              <a:t>2022/7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ECB9EEE-1597-4C28-962C-556314F36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06F63CC8-B574-4BE5-AB44-933C78397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74834-AE19-4E6F-B9DB-370160A47D1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スライド番号プレースホルダ 5">
            <a:extLst>
              <a:ext uri="{FF2B5EF4-FFF2-40B4-BE49-F238E27FC236}">
                <a16:creationId xmlns:a16="http://schemas.microsoft.com/office/drawing/2014/main" id="{190B421A-1DB1-4CC5-86D2-436CB031D54B}"/>
              </a:ext>
            </a:extLst>
          </p:cNvPr>
          <p:cNvSpPr txBox="1">
            <a:spLocks/>
          </p:cNvSpPr>
          <p:nvPr userDrawn="1"/>
        </p:nvSpPr>
        <p:spPr>
          <a:xfrm>
            <a:off x="11754544" y="68109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76506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332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244164" y="236517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3429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3271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1B452C3-6D06-DB47-80B3-1D275D759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729DF11-77EA-7E4D-999C-4E7EA206B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132770"/>
            <a:ext cx="11137900" cy="703942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D4F24-3AD1-7943-A1A9-EB84047B51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235892"/>
            <a:ext cx="11125199" cy="4929412"/>
          </a:xfrm>
        </p:spPr>
        <p:txBody>
          <a:bodyPr/>
          <a:lstStyle>
            <a:lvl1pPr>
              <a:buClr>
                <a:srgbClr val="4C4948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rgbClr val="4C4948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rgbClr val="4C4948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4C4948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4C4948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8B4E06-2E87-5B45-BE7C-3F9182284F9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86197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 5"/>
          <p:cNvSpPr>
            <a:spLocks noGrp="1"/>
          </p:cNvSpPr>
          <p:nvPr>
            <p:ph type="body" sz="quarter" idx="10" hasCustomPrompt="1"/>
          </p:nvPr>
        </p:nvSpPr>
        <p:spPr>
          <a:xfrm>
            <a:off x="2580181" y="2565400"/>
            <a:ext cx="7008779" cy="1723136"/>
          </a:xfrm>
        </p:spPr>
        <p:txBody>
          <a:bodyPr/>
          <a:lstStyle>
            <a:lvl1pPr algn="ctr">
              <a:buNone/>
              <a:defRPr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32654" y="5877272"/>
            <a:ext cx="3103832" cy="277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2" descr="Takeda_Logo_Pos_RGB.emf">
            <a:extLst>
              <a:ext uri="{FF2B5EF4-FFF2-40B4-BE49-F238E27FC236}">
                <a16:creationId xmlns:a16="http://schemas.microsoft.com/office/drawing/2014/main" id="{108D0D25-57F8-7548-82DB-B9A20A90EB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75980" y="4841951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34350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5473699"/>
            <a:ext cx="12192000" cy="138430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23256" y="219297"/>
            <a:ext cx="10735351" cy="877884"/>
          </a:xfrm>
        </p:spPr>
        <p:txBody>
          <a:bodyPr anchor="b"/>
          <a:lstStyle>
            <a:lvl1pPr algn="l"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ample Divider Slide Whit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923254" y="1411828"/>
            <a:ext cx="5172753" cy="48036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-23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ame goes here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8601" y="6258868"/>
            <a:ext cx="360000" cy="25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5261DC1A-9F2C-4D83-BFD6-BB6C53BB5F2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255" y="6083025"/>
            <a:ext cx="1980372" cy="437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899678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27051" y="172529"/>
            <a:ext cx="10464800" cy="698739"/>
          </a:xfrm>
          <a:prstGeom prst="rect">
            <a:avLst/>
          </a:prstGeom>
        </p:spPr>
        <p:txBody>
          <a:bodyPr/>
          <a:lstStyle>
            <a:lvl1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1" lang="en-US" altLang="ja-JP" sz="2200" b="0" i="0" u="none" strike="noStrike" kern="1200" cap="none" spc="0" normalizeH="0" baseline="0" noProof="0" dirty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t>Master title</a:t>
            </a:r>
            <a:endParaRPr kumimoji="1" lang="ja-JP" altLang="en-US" sz="22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 hasCustomPrompt="1"/>
          </p:nvPr>
        </p:nvSpPr>
        <p:spPr>
          <a:xfrm>
            <a:off x="539752" y="1228726"/>
            <a:ext cx="11042649" cy="4897439"/>
          </a:xfrm>
        </p:spPr>
        <p:txBody>
          <a:bodyPr vert="eaVert"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kumimoji="1" lang="en-US" altLang="ja-JP" dirty="0"/>
              <a:t>Master text</a:t>
            </a:r>
            <a:endParaRPr kumimoji="1" lang="ja-JP" altLang="en-US" dirty="0"/>
          </a:p>
          <a:p>
            <a:pPr lvl="1"/>
            <a:r>
              <a:rPr kumimoji="1" lang="en-US" altLang="ja-JP" dirty="0"/>
              <a:t>Second level</a:t>
            </a:r>
            <a:endParaRPr kumimoji="1" lang="ja-JP" altLang="en-US" dirty="0"/>
          </a:p>
          <a:p>
            <a:pPr lvl="2"/>
            <a:r>
              <a:rPr kumimoji="1" lang="en-US" altLang="ja-JP" dirty="0"/>
              <a:t>Third</a:t>
            </a:r>
            <a:r>
              <a:rPr kumimoji="1" lang="ja-JP" altLang="en-US" dirty="0"/>
              <a:t> </a:t>
            </a:r>
            <a:r>
              <a:rPr kumimoji="1" lang="en-US" altLang="ja-JP" dirty="0"/>
              <a:t>level</a:t>
            </a:r>
            <a:endParaRPr kumimoji="1" lang="ja-JP" altLang="en-US" dirty="0"/>
          </a:p>
          <a:p>
            <a:pPr lvl="3"/>
            <a:r>
              <a:rPr kumimoji="1" lang="en-US" altLang="ja-JP" dirty="0"/>
              <a:t>Fourth level</a:t>
            </a:r>
            <a:endParaRPr kumimoji="1" lang="ja-JP" altLang="en-US" dirty="0"/>
          </a:p>
          <a:p>
            <a:pPr lvl="4"/>
            <a:r>
              <a:rPr kumimoji="1" lang="en-US" altLang="ja-JP" dirty="0"/>
              <a:t>Fifth level</a:t>
            </a:r>
            <a:endParaRPr kumimoji="1" lang="ja-JP" altLang="en-US" dirty="0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946160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6997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600" dirty="0" err="1">
              <a:solidFill>
                <a:srgbClr val="4C4948"/>
              </a:solidFill>
              <a:sym typeface="Calibri" panose="020F050202020403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endParaRPr lang="x-none" sz="800" dirty="0">
              <a:solidFill>
                <a:srgbClr val="808080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2D46DFA-B417-462E-9890-07F0FDE434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3253" y="6625689"/>
            <a:ext cx="27432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52CC1DF4-52CB-4859-8620-C04CC29CB794}" type="datetimeFigureOut">
              <a:rPr lang="en-US" smtClean="0"/>
              <a:pPr/>
              <a:t>1%</a:t>
            </a:fld>
            <a:endParaRPr lang="en-US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A381A830-CC09-48AF-9FBC-B2D334FBD4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308677" y="198650"/>
            <a:ext cx="1157879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x-none" noProof="0" dirty="0"/>
          </a:p>
        </p:txBody>
      </p:sp>
      <p:sp>
        <p:nvSpPr>
          <p:cNvPr id="9" name="スライド番号プレースホルダ 5">
            <a:extLst>
              <a:ext uri="{FF2B5EF4-FFF2-40B4-BE49-F238E27FC236}">
                <a16:creationId xmlns:a16="http://schemas.microsoft.com/office/drawing/2014/main" id="{F9EE2615-A085-42EC-B86B-6E3BF23D44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b="1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04738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12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4628" y="6525345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21F2B54-50AC-4291-9BEF-75E96182F5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24484" y="6525344"/>
            <a:ext cx="8114100" cy="196131"/>
          </a:xfrm>
          <a:prstGeom prst="rect">
            <a:avLst/>
          </a:prstGeom>
        </p:spPr>
        <p:txBody>
          <a:bodyPr/>
          <a:lstStyle/>
          <a:p>
            <a:r>
              <a:rPr lang="en-US" altLang="ja-JP" sz="900" dirty="0">
                <a:solidFill>
                  <a:schemeClr val="bg1">
                    <a:lumMod val="50000"/>
                  </a:schemeClr>
                </a:solidFill>
              </a:rPr>
              <a:t>    | Takeda China Aspiration Report | 12/13/2019 | Confidential for Internal Use Only</a:t>
            </a:r>
            <a:endParaRPr lang="ja-JP" alt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スライド番号プレースホルダ 5">
            <a:extLst>
              <a:ext uri="{FF2B5EF4-FFF2-40B4-BE49-F238E27FC236}">
                <a16:creationId xmlns:a16="http://schemas.microsoft.com/office/drawing/2014/main" id="{07C607F5-7741-4A0F-A526-9A33A1F5045A}"/>
              </a:ext>
            </a:extLst>
          </p:cNvPr>
          <p:cNvSpPr txBox="1">
            <a:spLocks/>
          </p:cNvSpPr>
          <p:nvPr userDrawn="1"/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28605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27051" y="172532"/>
            <a:ext cx="10464800" cy="698739"/>
          </a:xfrm>
          <a:prstGeom prst="rect">
            <a:avLst/>
          </a:prstGeom>
        </p:spPr>
        <p:txBody>
          <a:bodyPr/>
          <a:lstStyle>
            <a:lvl1pPr marL="0" marR="0" indent="0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sz="2900"/>
            </a:lvl1pPr>
          </a:lstStyle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1" lang="en-US" altLang="ja-JP" sz="2900" b="0" i="0" u="none" strike="noStrike" kern="1200" cap="none" spc="0" normalizeH="0" baseline="0" noProof="0" dirty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t>Master title</a:t>
            </a:r>
            <a:endParaRPr kumimoji="1" lang="ja-JP" altLang="en-US" sz="29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8E221-2E7A-48BA-8424-2A55A4736B68}" type="datetime1">
              <a:rPr lang="ja-JP" altLang="en-US" smtClean="0"/>
              <a:pPr/>
              <a:t>2022/7/14</a:t>
            </a:fld>
            <a:endParaRPr lang="ja-JP" altLang="en-US"/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646196" y="6525365"/>
            <a:ext cx="6144683" cy="196131"/>
          </a:xfrm>
        </p:spPr>
        <p:txBody>
          <a:bodyPr/>
          <a:lstStyle/>
          <a:p>
            <a:r>
              <a:rPr lang="ja-JP" altLang="en-US" dirty="0"/>
              <a:t>｜</a:t>
            </a:r>
            <a:r>
              <a:rPr lang="en-US" altLang="ja-JP" dirty="0"/>
              <a:t>Source:</a:t>
            </a:r>
            <a:endParaRPr lang="ja-JP" altLang="en-US" dirty="0"/>
          </a:p>
        </p:txBody>
      </p:sp>
      <p:sp>
        <p:nvSpPr>
          <p:cNvPr id="7" name="スライド番号プレースホルダ 5">
            <a:extLst>
              <a:ext uri="{FF2B5EF4-FFF2-40B4-BE49-F238E27FC236}">
                <a16:creationId xmlns:a16="http://schemas.microsoft.com/office/drawing/2014/main" id="{C9B03A70-3796-4212-B99A-AB20B8C12BAE}"/>
              </a:ext>
            </a:extLst>
          </p:cNvPr>
          <p:cNvSpPr txBox="1">
            <a:spLocks/>
          </p:cNvSpPr>
          <p:nvPr userDrawn="1"/>
        </p:nvSpPr>
        <p:spPr>
          <a:xfrm>
            <a:off x="11754544" y="68109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263022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E06D6FAB-EBFB-49D6-A3A4-193DB05FF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470" imgH="469" progId="TCLayout.ActiveDocument.1">
                  <p:embed/>
                </p:oleObj>
              </mc:Choice>
              <mc:Fallback>
                <p:oleObj name="think-cell 幻灯片" r:id="rId14" imgW="470" imgH="469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E06D6FAB-EBFB-49D6-A3A4-193DB05FF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5AC1868F-C0A3-406E-8E10-54932D82664D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altLang="zh-CN" sz="2800" b="0" i="0" baseline="0" dirty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39751" y="1236664"/>
            <a:ext cx="11124868" cy="492864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646196" y="6525345"/>
            <a:ext cx="8114100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898989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b="1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タイトル プレースホルダ 1"/>
          <p:cNvSpPr>
            <a:spLocks noGrp="1"/>
          </p:cNvSpPr>
          <p:nvPr>
            <p:ph type="title"/>
          </p:nvPr>
        </p:nvSpPr>
        <p:spPr>
          <a:xfrm>
            <a:off x="527051" y="132770"/>
            <a:ext cx="11137568" cy="7039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134939"/>
            <a:ext cx="143339" cy="7016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chemeClr val="accent1"/>
              </a:solidFill>
            </a:endParaRPr>
          </a:p>
        </p:txBody>
      </p:sp>
      <p:pic>
        <p:nvPicPr>
          <p:cNvPr id="10" name="Picture 12" descr="Takeda_Logo_Pos_RGB.emf">
            <a:extLst>
              <a:ext uri="{FF2B5EF4-FFF2-40B4-BE49-F238E27FC236}">
                <a16:creationId xmlns:a16="http://schemas.microsoft.com/office/drawing/2014/main" id="{D824DB8B-9B20-483C-ADA3-FFF37B39213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409630" y="76697"/>
            <a:ext cx="688879" cy="231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1173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8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</p:titleStyle>
    <p:bodyStyle>
      <a:lvl1pPr marL="457200" indent="-45720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6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400" kern="120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2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34" Type="http://schemas.openxmlformats.org/officeDocument/2006/relationships/image" Target="../media/image10.emf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oleObject" Target="../embeddings/oleObject7.bin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tags" Target="../tags/tag39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notesSlide" Target="../notesSlides/notesSlide5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chart" Target="../charts/chart2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slideLayout" Target="../slideLayouts/slideLayout8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1.x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2.xml"/><Relationship Id="rId6" Type="http://schemas.openxmlformats.org/officeDocument/2006/relationships/image" Target="../media/image1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4.xml"/><Relationship Id="rId6" Type="http://schemas.openxmlformats.org/officeDocument/2006/relationships/image" Target="../media/image1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4809DAB9-874C-4E3F-8727-97687F665B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925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70" imgH="469" progId="TCLayout.ActiveDocument.1">
                  <p:embed/>
                </p:oleObj>
              </mc:Choice>
              <mc:Fallback>
                <p:oleObj name="think-cell 幻灯片" r:id="rId5" imgW="470" imgH="469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:a16="http://schemas.microsoft.com/office/drawing/2014/main" id="{4809DAB9-874C-4E3F-8727-97687F665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矩形 8" hidden="1">
            <a:extLst>
              <a:ext uri="{FF2B5EF4-FFF2-40B4-BE49-F238E27FC236}">
                <a16:creationId xmlns:a16="http://schemas.microsoft.com/office/drawing/2014/main" id="{FC67C9E7-9FE8-48AB-AFB5-6EEE19E448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AF22095-3E2C-4C2B-9E22-8BCBFA99B5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36981" y="1282598"/>
            <a:ext cx="7518037" cy="1231106"/>
          </a:xfrm>
        </p:spPr>
        <p:txBody>
          <a:bodyPr vert="horz"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zh-CN" altLang="zh-CN" sz="4000" b="1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注射用维布妥昔单抗</a:t>
            </a:r>
            <a:br>
              <a:rPr lang="en-US" altLang="zh-CN" sz="4000" b="1" kern="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</a:br>
            <a:r>
              <a:rPr lang="zh-CN" altLang="en-US" sz="4000" b="1" kern="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（安适利）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DEBA2A-75E8-4162-B4D4-62B95BACC5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92828" y="5075237"/>
            <a:ext cx="5636331" cy="338554"/>
          </a:xfrm>
          <a:noFill/>
          <a:ln>
            <a:noFill/>
          </a:ln>
        </p:spPr>
        <p:txBody>
          <a:bodyPr>
            <a:spAutoFit/>
          </a:bodyPr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武田（中国）国际贸易有限公司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4544AE-B624-4043-A663-6424F2BDC1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4428" y="2420070"/>
            <a:ext cx="2783143" cy="2537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6204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63CADA-A3C9-455B-9E81-4C625F4C96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9727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98" imgH="499" progId="TCLayout.ActiveDocument.1">
                  <p:embed/>
                </p:oleObj>
              </mc:Choice>
              <mc:Fallback>
                <p:oleObj name="think-cell 幻灯片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63CADA-A3C9-455B-9E81-4C625F4C96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>
            <a:extLst>
              <a:ext uri="{FF2B5EF4-FFF2-40B4-BE49-F238E27FC236}">
                <a16:creationId xmlns:a16="http://schemas.microsoft.com/office/drawing/2014/main" id="{631DB5A5-DF9A-BA4F-148A-9D676AB17826}"/>
              </a:ext>
            </a:extLst>
          </p:cNvPr>
          <p:cNvSpPr/>
          <p:nvPr/>
        </p:nvSpPr>
        <p:spPr>
          <a:xfrm>
            <a:off x="148046" y="163367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D856E1B4-5D46-37EE-A953-13DA6D09B7A6}"/>
              </a:ext>
            </a:extLst>
          </p:cNvPr>
          <p:cNvSpPr/>
          <p:nvPr/>
        </p:nvSpPr>
        <p:spPr>
          <a:xfrm>
            <a:off x="550532" y="2770692"/>
            <a:ext cx="11066796" cy="115238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Microsoft YaHei" panose="020B0503020204020204" pitchFamily="34" charset="-122"/>
            </a:endParaRPr>
          </a:p>
        </p:txBody>
      </p:sp>
      <p:sp>
        <p:nvSpPr>
          <p:cNvPr id="37" name="任意多边形 43">
            <a:extLst>
              <a:ext uri="{FF2B5EF4-FFF2-40B4-BE49-F238E27FC236}">
                <a16:creationId xmlns:a16="http://schemas.microsoft.com/office/drawing/2014/main" id="{A2AE2FA3-3709-8AF7-A335-B632BF13867C}"/>
              </a:ext>
            </a:extLst>
          </p:cNvPr>
          <p:cNvSpPr/>
          <p:nvPr/>
        </p:nvSpPr>
        <p:spPr>
          <a:xfrm>
            <a:off x="561421" y="2792198"/>
            <a:ext cx="3120688" cy="318716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FC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弥补目录短板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3F566733-426C-FC27-0BA9-6EF16CB53EBA}"/>
              </a:ext>
            </a:extLst>
          </p:cNvPr>
          <p:cNvSpPr txBox="1"/>
          <p:nvPr/>
        </p:nvSpPr>
        <p:spPr>
          <a:xfrm>
            <a:off x="571878" y="3157876"/>
            <a:ext cx="11090275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三个适应症人群</a:t>
            </a:r>
            <a:r>
              <a:rPr lang="zh-CN" altLang="en-US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均缺乏有效治疗手段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未满足需求高，</a:t>
            </a:r>
            <a:r>
              <a:rPr lang="zh-CN" altLang="en-US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目录内没有同类药物</a:t>
            </a:r>
            <a:r>
              <a:rPr lang="zh-CN" altLang="en-US" sz="16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zh-CN" altLang="en-US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本品可填补临床空白</a:t>
            </a:r>
            <a:endParaRPr lang="zh-CN" altLang="en-US" sz="1600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0626CC9B-F116-531D-6E06-262A1CE72E05}"/>
              </a:ext>
            </a:extLst>
          </p:cNvPr>
          <p:cNvSpPr/>
          <p:nvPr/>
        </p:nvSpPr>
        <p:spPr>
          <a:xfrm>
            <a:off x="562602" y="5232656"/>
            <a:ext cx="11066796" cy="115238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Microsoft YaHei" panose="020B0503020204020204" pitchFamily="34" charset="-122"/>
            </a:endParaRPr>
          </a:p>
        </p:txBody>
      </p:sp>
      <p:sp>
        <p:nvSpPr>
          <p:cNvPr id="61" name="任意多边形 43">
            <a:extLst>
              <a:ext uri="{FF2B5EF4-FFF2-40B4-BE49-F238E27FC236}">
                <a16:creationId xmlns:a16="http://schemas.microsoft.com/office/drawing/2014/main" id="{0FAF76E5-FB2A-5125-4BF9-DE79561B0BCD}"/>
              </a:ext>
            </a:extLst>
          </p:cNvPr>
          <p:cNvSpPr/>
          <p:nvPr/>
        </p:nvSpPr>
        <p:spPr>
          <a:xfrm>
            <a:off x="584378" y="5250926"/>
            <a:ext cx="3120688" cy="346588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FC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临床管理难度</a:t>
            </a: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6F12F068-A852-0FF9-6C2E-D716846CB1B3}"/>
              </a:ext>
            </a:extLst>
          </p:cNvPr>
          <p:cNvSpPr txBox="1"/>
          <p:nvPr/>
        </p:nvSpPr>
        <p:spPr>
          <a:xfrm>
            <a:off x="571878" y="5642095"/>
            <a:ext cx="11090275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靶点明确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只适用于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D30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阳性的淋巴瘤，</a:t>
            </a:r>
            <a:r>
              <a:rPr lang="zh-CN" altLang="en-US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方便规范管理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持续治疗</a:t>
            </a:r>
            <a:r>
              <a:rPr lang="zh-CN" altLang="en-US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≤</a:t>
            </a:r>
            <a:r>
              <a: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8</a:t>
            </a:r>
            <a:r>
              <a:rPr lang="zh-CN" altLang="en-US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周期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医保基金支出有限可控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D2E0946-8D37-4CF9-81E3-D6A14687E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21155"/>
            <a:ext cx="9827184" cy="703942"/>
          </a:xfrm>
        </p:spPr>
        <p:txBody>
          <a:bodyPr vert="horz"/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维布妥昔单抗可在真实世界实践中为患者带来</a:t>
            </a:r>
            <a:b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</a:b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临床治愈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的机会，有力填补我国医保目录的空白</a:t>
            </a:r>
            <a:endParaRPr lang="zh-CN" altLang="en-US" sz="3600" dirty="0">
              <a:ea typeface="Microsoft YaHei" panose="020B0503020204020204" pitchFamily="34" charset="-122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2E5CA95C-E899-493B-92E7-B9CB76DCED68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公平性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8F767F02-5513-4A10-96FD-16C0DD77B9B8}"/>
              </a:ext>
            </a:extLst>
          </p:cNvPr>
          <p:cNvSpPr/>
          <p:nvPr/>
        </p:nvSpPr>
        <p:spPr>
          <a:xfrm>
            <a:off x="550536" y="1236389"/>
            <a:ext cx="11066790" cy="148734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Microsoft YaHei" panose="020B0503020204020204" pitchFamily="34" charset="-122"/>
            </a:endParaRPr>
          </a:p>
        </p:txBody>
      </p:sp>
      <p:sp>
        <p:nvSpPr>
          <p:cNvPr id="21" name="任意多边形 43">
            <a:extLst>
              <a:ext uri="{FF2B5EF4-FFF2-40B4-BE49-F238E27FC236}">
                <a16:creationId xmlns:a16="http://schemas.microsoft.com/office/drawing/2014/main" id="{BC13A5D3-8370-41C6-99A6-A03C6FB11F85}"/>
              </a:ext>
            </a:extLst>
          </p:cNvPr>
          <p:cNvSpPr/>
          <p:nvPr/>
        </p:nvSpPr>
        <p:spPr>
          <a:xfrm>
            <a:off x="571500" y="1256905"/>
            <a:ext cx="3120688" cy="321342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FC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所治疗疾病对公共健康的影响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C60824BA-9C33-46FF-A339-A99B4B8AF8A2}"/>
              </a:ext>
            </a:extLst>
          </p:cNvPr>
          <p:cNvSpPr txBox="1"/>
          <p:nvPr/>
        </p:nvSpPr>
        <p:spPr>
          <a:xfrm>
            <a:off x="571878" y="1613024"/>
            <a:ext cx="11043313" cy="7875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ALCL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</a:t>
            </a:r>
            <a:r>
              <a:rPr lang="en-US" altLang="zh-CN" sz="16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HL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患者</a:t>
            </a:r>
            <a:r>
              <a:rPr lang="zh-CN" altLang="en-US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中位年龄</a:t>
            </a:r>
            <a:r>
              <a: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2</a:t>
            </a:r>
            <a:r>
              <a:rPr lang="zh-CN" altLang="en-US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岁</a:t>
            </a:r>
            <a:r>
              <a:rPr lang="en-US" altLang="zh-CN" sz="1600" b="1" baseline="300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[1]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该年龄群体是国家发展的中坚力量，维布妥昔单抗给患者带来临床治愈可能性（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5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年生存率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60%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，大大提高这个人群的社会生产力，助力健康中国目标实现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F665AEA6-DF23-4B47-9CD3-7E40A4B2387A}"/>
              </a:ext>
            </a:extLst>
          </p:cNvPr>
          <p:cNvSpPr/>
          <p:nvPr/>
        </p:nvSpPr>
        <p:spPr>
          <a:xfrm>
            <a:off x="560893" y="3999464"/>
            <a:ext cx="11090278" cy="115238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Microsoft YaHei" panose="020B0503020204020204" pitchFamily="34" charset="-122"/>
            </a:endParaRPr>
          </a:p>
        </p:txBody>
      </p:sp>
      <p:sp>
        <p:nvSpPr>
          <p:cNvPr id="25" name="任意多边形 43">
            <a:extLst>
              <a:ext uri="{FF2B5EF4-FFF2-40B4-BE49-F238E27FC236}">
                <a16:creationId xmlns:a16="http://schemas.microsoft.com/office/drawing/2014/main" id="{1016A086-03F5-4C32-B794-0C95B6037406}"/>
              </a:ext>
            </a:extLst>
          </p:cNvPr>
          <p:cNvSpPr/>
          <p:nvPr/>
        </p:nvSpPr>
        <p:spPr>
          <a:xfrm>
            <a:off x="584378" y="4020540"/>
            <a:ext cx="3120688" cy="315353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FC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符合“保基本”原则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3F38560E-4574-423A-BD23-01E0C88CC391}"/>
              </a:ext>
            </a:extLst>
          </p:cNvPr>
          <p:cNvSpPr txBox="1"/>
          <p:nvPr/>
        </p:nvSpPr>
        <p:spPr>
          <a:xfrm>
            <a:off x="571878" y="4354163"/>
            <a:ext cx="11090275" cy="7875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维布妥昔单抗中国自费挂网价已低于推荐国家或地区的最低健保价，</a:t>
            </a:r>
            <a:r>
              <a:rPr lang="zh-CN" altLang="en-US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患者可负担</a:t>
            </a:r>
            <a:endParaRPr lang="en-US" altLang="zh-CN" sz="16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Microsoft YaHei" panose="020B0503020204020204" pitchFamily="34" charset="-122"/>
                <a:ea typeface="Microsoft YaHei" panose="020B0503020204020204" pitchFamily="34" charset="-122"/>
              </a:rPr>
              <a:t>三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适应症人数均小，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对医保基金的影响较低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423F4C27-90AF-4737-A06E-BF5D7F1E7FF5}"/>
              </a:ext>
            </a:extLst>
          </p:cNvPr>
          <p:cNvSpPr txBox="1"/>
          <p:nvPr/>
        </p:nvSpPr>
        <p:spPr>
          <a:xfrm>
            <a:off x="584378" y="6511968"/>
            <a:ext cx="610308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[1] 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儿童 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LK + 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阳性间变性大细胞淋巴瘤诊疗规范（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019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年版）</a:t>
            </a:r>
          </a:p>
        </p:txBody>
      </p:sp>
    </p:spTree>
    <p:extLst>
      <p:ext uri="{BB962C8B-B14F-4D97-AF65-F5344CB8AC3E}">
        <p14:creationId xmlns:p14="http://schemas.microsoft.com/office/powerpoint/2010/main" val="3023462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8A71CBD-0F94-4513-9C09-9775113455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8A71CBD-0F94-4513-9C09-9775113455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矩形 18">
            <a:extLst>
              <a:ext uri="{FF2B5EF4-FFF2-40B4-BE49-F238E27FC236}">
                <a16:creationId xmlns:a16="http://schemas.microsoft.com/office/drawing/2014/main" id="{AB2294B2-AB0F-40C5-8439-2DAD2AEB3A5B}"/>
              </a:ext>
            </a:extLst>
          </p:cNvPr>
          <p:cNvSpPr/>
          <p:nvPr/>
        </p:nvSpPr>
        <p:spPr>
          <a:xfrm>
            <a:off x="550863" y="158257"/>
            <a:ext cx="11173051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目 录</a:t>
            </a: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7CC96710-2E71-40ED-84D1-CBA8EB856549}"/>
              </a:ext>
            </a:extLst>
          </p:cNvPr>
          <p:cNvSpPr/>
          <p:nvPr/>
        </p:nvSpPr>
        <p:spPr>
          <a:xfrm>
            <a:off x="3204483" y="1612644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药品基本信息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ED6B36F4-8730-29CF-ECC7-FC93805DB5F2}"/>
              </a:ext>
            </a:extLst>
          </p:cNvPr>
          <p:cNvGrpSpPr/>
          <p:nvPr/>
        </p:nvGrpSpPr>
        <p:grpSpPr>
          <a:xfrm>
            <a:off x="2309145" y="1596762"/>
            <a:ext cx="627095" cy="523220"/>
            <a:chOff x="1884737" y="1587543"/>
            <a:chExt cx="627095" cy="523220"/>
          </a:xfrm>
        </p:grpSpPr>
        <p:sp>
          <p:nvSpPr>
            <p:cNvPr id="20" name="等腰三角形 76">
              <a:extLst>
                <a:ext uri="{FF2B5EF4-FFF2-40B4-BE49-F238E27FC236}">
                  <a16:creationId xmlns:a16="http://schemas.microsoft.com/office/drawing/2014/main" id="{8FEDAA81-69E3-9BD5-A7C7-53F33A5B165C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29DD16CA-77F9-B6F6-F94B-C481A9ACEFE4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1</a:t>
              </a:r>
              <a:endParaRPr kumimoji="0" lang="zh-CN" altLang="en-US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1397E69A-6586-4D93-F79A-AD4E39343875}"/>
              </a:ext>
            </a:extLst>
          </p:cNvPr>
          <p:cNvSpPr/>
          <p:nvPr/>
        </p:nvSpPr>
        <p:spPr>
          <a:xfrm>
            <a:off x="7830898" y="1612644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安全性</a:t>
            </a:r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698C5A07-C8A9-ED27-0D93-8B7D3782B071}"/>
              </a:ext>
            </a:extLst>
          </p:cNvPr>
          <p:cNvGrpSpPr/>
          <p:nvPr/>
        </p:nvGrpSpPr>
        <p:grpSpPr>
          <a:xfrm>
            <a:off x="6935560" y="1596762"/>
            <a:ext cx="627095" cy="523220"/>
            <a:chOff x="1884737" y="1587543"/>
            <a:chExt cx="627095" cy="523220"/>
          </a:xfrm>
        </p:grpSpPr>
        <p:sp>
          <p:nvSpPr>
            <p:cNvPr id="28" name="等腰三角形 76">
              <a:extLst>
                <a:ext uri="{FF2B5EF4-FFF2-40B4-BE49-F238E27FC236}">
                  <a16:creationId xmlns:a16="http://schemas.microsoft.com/office/drawing/2014/main" id="{991C3FE4-CD93-3378-BD48-807C8EBB8369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5A382689-215F-588A-347E-BEAF68109079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2</a:t>
              </a:r>
              <a:endParaRPr kumimoji="0" lang="zh-CN" altLang="en-US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A606D979-3D3E-E318-E98C-A50BF1512979}"/>
              </a:ext>
            </a:extLst>
          </p:cNvPr>
          <p:cNvSpPr/>
          <p:nvPr/>
        </p:nvSpPr>
        <p:spPr>
          <a:xfrm>
            <a:off x="3204483" y="2967470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有效性</a:t>
            </a: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49EAC617-EBAF-CD6E-39FD-E284B469DCE9}"/>
              </a:ext>
            </a:extLst>
          </p:cNvPr>
          <p:cNvGrpSpPr/>
          <p:nvPr/>
        </p:nvGrpSpPr>
        <p:grpSpPr>
          <a:xfrm>
            <a:off x="2309145" y="2951588"/>
            <a:ext cx="627095" cy="523220"/>
            <a:chOff x="1884737" y="1587543"/>
            <a:chExt cx="627095" cy="523220"/>
          </a:xfrm>
        </p:grpSpPr>
        <p:sp>
          <p:nvSpPr>
            <p:cNvPr id="34" name="等腰三角形 76">
              <a:extLst>
                <a:ext uri="{FF2B5EF4-FFF2-40B4-BE49-F238E27FC236}">
                  <a16:creationId xmlns:a16="http://schemas.microsoft.com/office/drawing/2014/main" id="{D7E029EE-E991-028B-AB3A-9903746AF36B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1829A506-154F-E0CA-AA9F-A34A9659B93D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3</a:t>
              </a:r>
              <a:endParaRPr kumimoji="0" lang="zh-CN" altLang="en-US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679C66C8-6D79-A78B-5D99-ECD7E289E2DB}"/>
              </a:ext>
            </a:extLst>
          </p:cNvPr>
          <p:cNvSpPr/>
          <p:nvPr/>
        </p:nvSpPr>
        <p:spPr>
          <a:xfrm>
            <a:off x="7830898" y="2967470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创新性</a:t>
            </a:r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5E8D812F-2DE8-BE5E-B65A-9C43FBC76C0D}"/>
              </a:ext>
            </a:extLst>
          </p:cNvPr>
          <p:cNvGrpSpPr/>
          <p:nvPr/>
        </p:nvGrpSpPr>
        <p:grpSpPr>
          <a:xfrm>
            <a:off x="6935560" y="2951588"/>
            <a:ext cx="627095" cy="523220"/>
            <a:chOff x="1884737" y="1587543"/>
            <a:chExt cx="627095" cy="523220"/>
          </a:xfrm>
        </p:grpSpPr>
        <p:sp>
          <p:nvSpPr>
            <p:cNvPr id="39" name="等腰三角形 76">
              <a:extLst>
                <a:ext uri="{FF2B5EF4-FFF2-40B4-BE49-F238E27FC236}">
                  <a16:creationId xmlns:a16="http://schemas.microsoft.com/office/drawing/2014/main" id="{7526702F-C78A-AF81-9A9A-FA6B7D069F39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FAF7F109-DAAD-57E3-2E02-02BE45EBB360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4</a:t>
              </a:r>
              <a:endParaRPr kumimoji="0" lang="zh-CN" altLang="en-US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3C34309A-D2B9-C1F6-5B4B-2D5EE1EB4C50}"/>
              </a:ext>
            </a:extLst>
          </p:cNvPr>
          <p:cNvSpPr/>
          <p:nvPr/>
        </p:nvSpPr>
        <p:spPr>
          <a:xfrm>
            <a:off x="3204483" y="4322296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公平性</a:t>
            </a:r>
          </a:p>
        </p:txBody>
      </p: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C650D356-1C11-9B0F-8EFB-8C3CBDBF2D78}"/>
              </a:ext>
            </a:extLst>
          </p:cNvPr>
          <p:cNvGrpSpPr/>
          <p:nvPr/>
        </p:nvGrpSpPr>
        <p:grpSpPr>
          <a:xfrm>
            <a:off x="2309145" y="4306414"/>
            <a:ext cx="627095" cy="523220"/>
            <a:chOff x="1884737" y="1587543"/>
            <a:chExt cx="627095" cy="523220"/>
          </a:xfrm>
        </p:grpSpPr>
        <p:sp>
          <p:nvSpPr>
            <p:cNvPr id="44" name="等腰三角形 76">
              <a:extLst>
                <a:ext uri="{FF2B5EF4-FFF2-40B4-BE49-F238E27FC236}">
                  <a16:creationId xmlns:a16="http://schemas.microsoft.com/office/drawing/2014/main" id="{8E5CE1D7-3D47-EE1A-002C-8E7A93A04661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61B529DB-FFB3-84E2-95E4-8B77C44A7902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5</a:t>
              </a:r>
              <a:endParaRPr kumimoji="0" lang="zh-CN" altLang="en-US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52322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DE10F6-AF5C-4220-A39B-01C5844EC8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012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98" imgH="499" progId="TCLayout.ActiveDocument.1">
                  <p:embed/>
                </p:oleObj>
              </mc:Choice>
              <mc:Fallback>
                <p:oleObj name="think-cell 幻灯片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DE10F6-AF5C-4220-A39B-01C5844EC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矩形 14">
            <a:extLst>
              <a:ext uri="{FF2B5EF4-FFF2-40B4-BE49-F238E27FC236}">
                <a16:creationId xmlns:a16="http://schemas.microsoft.com/office/drawing/2014/main" id="{30427287-14FB-D04E-51E8-55E992C74FCF}"/>
              </a:ext>
            </a:extLst>
          </p:cNvPr>
          <p:cNvSpPr/>
          <p:nvPr/>
        </p:nvSpPr>
        <p:spPr>
          <a:xfrm>
            <a:off x="550862" y="961603"/>
            <a:ext cx="7010784" cy="506182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Microsoft YaHei" panose="020B0503020204020204" pitchFamily="34" charset="-122"/>
            </a:endParaRPr>
          </a:p>
        </p:txBody>
      </p:sp>
      <p:graphicFrame>
        <p:nvGraphicFramePr>
          <p:cNvPr id="13" name="表格 4">
            <a:extLst>
              <a:ext uri="{FF2B5EF4-FFF2-40B4-BE49-F238E27FC236}">
                <a16:creationId xmlns:a16="http://schemas.microsoft.com/office/drawing/2014/main" id="{254F1115-F3E7-474C-AA65-BA9A7A336C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251962"/>
              </p:ext>
            </p:extLst>
          </p:nvPr>
        </p:nvGraphicFramePr>
        <p:xfrm>
          <a:off x="644658" y="1038815"/>
          <a:ext cx="6776868" cy="48575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2077">
                  <a:extLst>
                    <a:ext uri="{9D8B030D-6E8A-4147-A177-3AD203B41FA5}">
                      <a16:colId xmlns:a16="http://schemas.microsoft.com/office/drawing/2014/main" val="862097189"/>
                    </a:ext>
                  </a:extLst>
                </a:gridCol>
                <a:gridCol w="1624930">
                  <a:extLst>
                    <a:ext uri="{9D8B030D-6E8A-4147-A177-3AD203B41FA5}">
                      <a16:colId xmlns:a16="http://schemas.microsoft.com/office/drawing/2014/main" val="2917624535"/>
                    </a:ext>
                  </a:extLst>
                </a:gridCol>
                <a:gridCol w="2044078">
                  <a:extLst>
                    <a:ext uri="{9D8B030D-6E8A-4147-A177-3AD203B41FA5}">
                      <a16:colId xmlns:a16="http://schemas.microsoft.com/office/drawing/2014/main" val="2005842428"/>
                    </a:ext>
                  </a:extLst>
                </a:gridCol>
                <a:gridCol w="1205783">
                  <a:extLst>
                    <a:ext uri="{9D8B030D-6E8A-4147-A177-3AD203B41FA5}">
                      <a16:colId xmlns:a16="http://schemas.microsoft.com/office/drawing/2014/main" val="3439431904"/>
                    </a:ext>
                  </a:extLst>
                </a:gridCol>
              </a:tblGrid>
              <a:tr h="322228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通用名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注射用维布妥昔单抗</a:t>
                      </a:r>
                    </a:p>
                  </a:txBody>
                  <a:tcPr marL="45720" marR="4572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126211"/>
                  </a:ext>
                </a:extLst>
              </a:tr>
              <a:tr h="322228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注册规格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50mg/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瓶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865443"/>
                  </a:ext>
                </a:extLst>
              </a:tr>
              <a:tr h="1570860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适应症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本品为靶向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CD30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的抗体偶联药物（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ADC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），适用于治疗以下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CD30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阳性淋巴瘤成人患者：</a:t>
                      </a:r>
                      <a:endParaRPr kumimoji="0" lang="en-US" altLang="zh-CN" sz="14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宋体" panose="02010600030101010101" pitchFamily="2" charset="-122"/>
                      </a:endParaRPr>
                    </a:p>
                    <a:p>
                      <a:pPr marL="360000" marR="0" lvl="1" indent="-34290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复发或难治性系统性间变性大细胞淋巴瘤（ 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R/R sALCL 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）</a:t>
                      </a:r>
                      <a:endParaRPr kumimoji="0" lang="en-US" altLang="zh-CN" sz="14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highlight>
                          <a:srgbClr val="FFFFFF"/>
                        </a:highlight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宋体" panose="02010600030101010101" pitchFamily="2" charset="-122"/>
                      </a:endParaRPr>
                    </a:p>
                    <a:p>
                      <a:pPr marL="360000" marR="0" lvl="1" indent="-34290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复发或难治性经典型霍奇金淋巴瘤（ 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R/R </a:t>
                      </a:r>
                      <a:r>
                        <a:rPr kumimoji="0" lang="en-US" altLang="zh-CN" sz="1400" b="0" i="0" u="none" strike="noStrike" kern="0" cap="none" spc="0" normalizeH="0" baseline="0" noProof="0" dirty="0" err="1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cHL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 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）</a:t>
                      </a:r>
                      <a:endParaRPr kumimoji="0" lang="en-US" altLang="zh-CN" sz="14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highlight>
                          <a:srgbClr val="FFFFFF"/>
                        </a:highlight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宋体" panose="02010600030101010101" pitchFamily="2" charset="-122"/>
                      </a:endParaRPr>
                    </a:p>
                    <a:p>
                      <a:pPr marL="360000" marR="0" lvl="1" indent="-34290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既往接受过系统性治疗的原发性皮肤间变性大细胞淋巴瘤（</a:t>
                      </a:r>
                      <a:r>
                        <a:rPr kumimoji="0" lang="en-US" altLang="zh-CN" sz="1400" b="0" i="0" u="none" strike="noStrike" kern="0" cap="none" spc="0" normalizeH="0" baseline="0" noProof="0" dirty="0" err="1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pcALCL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）或蕈样真菌病（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MF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）</a:t>
                      </a:r>
                      <a:r>
                        <a:rPr kumimoji="0" lang="en-US" altLang="zh-CN" sz="1400" b="0" i="0" u="none" strike="noStrike" kern="0" cap="none" spc="0" normalizeH="0" baseline="30000" noProof="0" dirty="0">
                          <a:ln>
                            <a:noFill/>
                          </a:ln>
                          <a:effectLst/>
                          <a:highlight>
                            <a:srgbClr val="FFFFFF"/>
                          </a:highlight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[1]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4715870"/>
                  </a:ext>
                </a:extLst>
              </a:tr>
              <a:tr h="322228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主适应症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R/R sALCL</a:t>
                      </a: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，存在临床治疗空白，亟待创新药物</a:t>
                      </a:r>
                      <a:endParaRPr kumimoji="0" lang="en-US" altLang="zh-CN" sz="1400" b="1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586332"/>
                  </a:ext>
                </a:extLst>
              </a:tr>
              <a:tr h="1224465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用法用量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推荐剂量：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1.8mg/kg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30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分钟以上静脉输注给药，每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3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周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次。按成人平均体重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60kg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2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瓶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/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次，接受至多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16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个周期（约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年）的治疗</a:t>
                      </a:r>
                      <a:endParaRPr kumimoji="0" lang="en-US" altLang="zh-CN" sz="14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宋体" panose="02010600030101010101" pitchFamily="2" charset="-122"/>
                      </a:endParaRPr>
                    </a:p>
                    <a:p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实际治疗：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疗程有限，患者持续治疗≤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8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周期（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16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瓶），治疗费用建议按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16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瓶测算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(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详见“经济性”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)</a:t>
                      </a:r>
                      <a:endParaRPr lang="zh-CN" altLang="en-US" sz="1400" b="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6447681"/>
                  </a:ext>
                </a:extLst>
              </a:tr>
              <a:tr h="547787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中国大陆首次上市时间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2020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年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5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月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目前大陆地区同通用名药品的上市情况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无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934731"/>
                  </a:ext>
                </a:extLst>
              </a:tr>
              <a:tr h="547787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全球首次上市时间及国家</a:t>
                      </a:r>
                      <a:r>
                        <a:rPr kumimoji="0" lang="en-US" altLang="zh-CN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/</a:t>
                      </a: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地区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2011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年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8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月，美国</a:t>
                      </a: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是否为</a:t>
                      </a:r>
                      <a:r>
                        <a:rPr kumimoji="0" lang="en-US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OTC</a:t>
                      </a:r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药品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否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124744"/>
                  </a:ext>
                </a:extLst>
              </a:tr>
            </a:tbl>
          </a:graphicData>
        </a:graphic>
      </p:graphicFrame>
      <p:sp>
        <p:nvSpPr>
          <p:cNvPr id="14" name="矩形 13">
            <a:extLst>
              <a:ext uri="{FF2B5EF4-FFF2-40B4-BE49-F238E27FC236}">
                <a16:creationId xmlns:a16="http://schemas.microsoft.com/office/drawing/2014/main" id="{9EBDA6D6-BF8D-6CD1-C1AB-9056D5852CB8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DDEB0944-AC36-1865-85E5-8F019E481B8E}"/>
              </a:ext>
            </a:extLst>
          </p:cNvPr>
          <p:cNvSpPr/>
          <p:nvPr/>
        </p:nvSpPr>
        <p:spPr>
          <a:xfrm>
            <a:off x="7655442" y="961603"/>
            <a:ext cx="3985696" cy="506182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Microsoft YaHei" panose="020B0503020204020204" pitchFamily="34" charset="-122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414AE9D7-30EC-670B-E6F6-298B92B0B087}"/>
              </a:ext>
            </a:extLst>
          </p:cNvPr>
          <p:cNvSpPr txBox="1"/>
          <p:nvPr/>
        </p:nvSpPr>
        <p:spPr>
          <a:xfrm>
            <a:off x="7702216" y="1587102"/>
            <a:ext cx="3806840" cy="5874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  <a:defRPr/>
            </a:pPr>
            <a:r>
              <a:rPr lang="zh-CN" altLang="en-US" sz="1400" dirty="0">
                <a:highlight>
                  <a:srgbClr val="FFFFFF"/>
                </a:highlight>
                <a:latin typeface="Microsoft YaHei" panose="020B0503020204020204" pitchFamily="34" charset="-122"/>
                <a:ea typeface="Microsoft YaHei" panose="020B0503020204020204" pitchFamily="34" charset="-122"/>
              </a:rPr>
              <a:t>维布妥昔单抗具有独特的作用机制，且已获批三个适应症，</a:t>
            </a:r>
            <a:r>
              <a:rPr lang="zh-CN" altLang="en-US" sz="1400" b="1" dirty="0">
                <a:highlight>
                  <a:srgbClr val="FFFFFF"/>
                </a:highlight>
                <a:latin typeface="Microsoft YaHei" panose="020B0503020204020204" pitchFamily="34" charset="-122"/>
                <a:ea typeface="Microsoft YaHei" panose="020B0503020204020204" pitchFamily="34" charset="-122"/>
              </a:rPr>
              <a:t>目录内无适当参照药品</a:t>
            </a:r>
            <a:endParaRPr lang="en-US" altLang="zh-CN" sz="1400" b="1" dirty="0">
              <a:highlight>
                <a:srgbClr val="FFFFFF"/>
              </a:highlight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FA3B5D54-635A-C790-9095-1925846F387C}"/>
              </a:ext>
            </a:extLst>
          </p:cNvPr>
          <p:cNvSpPr txBox="1"/>
          <p:nvPr/>
        </p:nvSpPr>
        <p:spPr>
          <a:xfrm>
            <a:off x="7734776" y="2283387"/>
            <a:ext cx="3768554" cy="8152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20000"/>
              </a:lnSpc>
              <a:spcAft>
                <a:spcPts val="600"/>
              </a:spcAft>
              <a:buFont typeface="+mj-ea"/>
              <a:buAutoNum type="circleNumDbPlain"/>
              <a:defRPr/>
            </a:pPr>
            <a:r>
              <a:rPr lang="zh-CN" altLang="en-US" sz="1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全球唯一获批的靶向</a:t>
            </a:r>
            <a:r>
              <a:rPr lang="en-US" altLang="zh-CN" sz="1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D30</a:t>
            </a:r>
            <a:r>
              <a:rPr lang="zh-CN" altLang="en-US" sz="1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ADC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Font typeface="+mj-ea"/>
              <a:buAutoNum type="circleNumDbPlain"/>
              <a:defRPr/>
            </a:pP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唯一针对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R/R sALCL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R/R </a:t>
            </a:r>
            <a:r>
              <a:rPr lang="en-US" altLang="zh-CN" sz="12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HL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及既往接受过系统性治疗的</a:t>
            </a:r>
            <a:r>
              <a:rPr lang="en-US" altLang="zh-CN" sz="12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pcALCL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/MF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的二线靶向药物</a:t>
            </a:r>
            <a:endParaRPr lang="en-US" altLang="zh-CN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CE6D092F-9265-1966-8028-D209465E85ED}"/>
              </a:ext>
            </a:extLst>
          </p:cNvPr>
          <p:cNvSpPr txBox="1"/>
          <p:nvPr/>
        </p:nvSpPr>
        <p:spPr>
          <a:xfrm>
            <a:off x="7715632" y="3187747"/>
            <a:ext cx="3925505" cy="11430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但是考虑到临床常用方案为化疗，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其中</a:t>
            </a:r>
            <a:r>
              <a:rPr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HAP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地塞米松</a:t>
            </a:r>
            <a:r>
              <a:rPr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+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阿糖胞苷</a:t>
            </a:r>
            <a:r>
              <a:rPr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+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顺铂联合治疗）是对三个适应症均适用且临床应用最广泛治疗方案</a:t>
            </a:r>
            <a:endParaRPr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因此建议参照品为</a:t>
            </a:r>
            <a:r>
              <a:rPr lang="en-US" altLang="zh-CN" sz="14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HAP</a:t>
            </a:r>
            <a:endParaRPr lang="en-US" altLang="zh-CN" sz="1200" dirty="0">
              <a:solidFill>
                <a:schemeClr val="accent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610CCED3-5C0A-0AB0-78A0-3EB75186F7A2}"/>
              </a:ext>
            </a:extLst>
          </p:cNvPr>
          <p:cNvSpPr txBox="1"/>
          <p:nvPr/>
        </p:nvSpPr>
        <p:spPr>
          <a:xfrm>
            <a:off x="476209" y="6146684"/>
            <a:ext cx="1109027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复发或难治性系统性间变性大细胞淋巴瘤：</a:t>
            </a:r>
            <a:r>
              <a:rPr lang="en-US" altLang="zh-CN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/R sALCL</a:t>
            </a:r>
            <a:r>
              <a:rPr lang="zh-CN" altLang="en-US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代表二线及后线治疗，下同</a:t>
            </a:r>
            <a:endParaRPr lang="en-US" altLang="zh-CN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复发或难治性经典型霍奇金淋巴瘤：</a:t>
            </a:r>
            <a:r>
              <a:rPr lang="en-US" altLang="zh-CN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/R </a:t>
            </a:r>
            <a:r>
              <a:rPr lang="en-US" altLang="zh-CN" sz="9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HL</a:t>
            </a:r>
            <a:r>
              <a:rPr lang="zh-CN" altLang="en-US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代表二线及后线治疗，下同</a:t>
            </a:r>
            <a:endParaRPr lang="en-US" altLang="zh-CN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既往接受过系统性治疗的原发性皮肤间变性大细胞淋巴瘤（</a:t>
            </a:r>
            <a:r>
              <a:rPr lang="en-US" altLang="zh-CN" sz="9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pcALCL</a:t>
            </a:r>
            <a:r>
              <a:rPr lang="zh-CN" altLang="en-US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或蕈样真菌病（</a:t>
            </a:r>
            <a:r>
              <a:rPr lang="en-US" altLang="zh-CN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F</a:t>
            </a:r>
            <a:r>
              <a:rPr lang="zh-CN" altLang="en-US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：</a:t>
            </a:r>
            <a:r>
              <a:rPr lang="en-US" altLang="zh-CN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9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pcALCL</a:t>
            </a:r>
            <a:r>
              <a:rPr lang="en-US" altLang="zh-CN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/MF</a:t>
            </a:r>
            <a:r>
              <a:rPr lang="zh-CN" altLang="en-US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代表二线及后线治疗，下同</a:t>
            </a:r>
            <a:endParaRPr lang="zh-CN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0B08050-B1E6-43A1-A53E-EBEF6BFBB907}"/>
              </a:ext>
            </a:extLst>
          </p:cNvPr>
          <p:cNvSpPr txBox="1"/>
          <p:nvPr/>
        </p:nvSpPr>
        <p:spPr>
          <a:xfrm>
            <a:off x="550795" y="6673334"/>
            <a:ext cx="10001075" cy="184666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1] 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注射用维布妥昔单抗（安适利</a:t>
            </a:r>
            <a:r>
              <a:rPr kumimoji="0" lang="en-US" altLang="zh-CN" sz="6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®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）说明书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.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2] 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中国临床肿瘤协会（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CSCO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）淋巴瘤诊疗指南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2022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版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.</a:t>
            </a:r>
          </a:p>
        </p:txBody>
      </p:sp>
      <p:sp>
        <p:nvSpPr>
          <p:cNvPr id="24" name="文本框 20">
            <a:extLst>
              <a:ext uri="{FF2B5EF4-FFF2-40B4-BE49-F238E27FC236}">
                <a16:creationId xmlns:a16="http://schemas.microsoft.com/office/drawing/2014/main" id="{831CC5DA-1CB5-4502-BBD1-AD5FD6462077}"/>
              </a:ext>
            </a:extLst>
          </p:cNvPr>
          <p:cNvSpPr txBox="1"/>
          <p:nvPr/>
        </p:nvSpPr>
        <p:spPr>
          <a:xfrm>
            <a:off x="7740502" y="4429006"/>
            <a:ext cx="3806840" cy="1335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20000"/>
              </a:lnSpc>
              <a:spcAft>
                <a:spcPts val="600"/>
              </a:spcAft>
              <a:buFont typeface="+mj-ea"/>
              <a:buAutoNum type="circleNumDbPlain"/>
              <a:defRPr/>
            </a:pP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化疗是三个适应症最主要的治疗方案，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DHAP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在三个适应症中均可适用且最常用</a:t>
            </a:r>
            <a:endParaRPr lang="en-US" altLang="zh-CN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Font typeface="+mj-ea"/>
              <a:buAutoNum type="circleNumDbPlain"/>
              <a:defRPr/>
            </a:pP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DHAP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是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SCO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淋巴瘤诊疗指南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(2022)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R/R sALCL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及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R/R </a:t>
            </a:r>
            <a:r>
              <a:rPr lang="en-US" altLang="zh-CN" sz="12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HL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推荐治疗</a:t>
            </a:r>
            <a:r>
              <a:rPr lang="en-US" altLang="zh-CN" sz="1200" baseline="300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[2]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Font typeface="+mj-ea"/>
              <a:buAutoNum type="circleNumDbPlain"/>
              <a:defRPr/>
            </a:pP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国际典型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HTA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推荐参照药中均包括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DHAP</a:t>
            </a:r>
          </a:p>
        </p:txBody>
      </p:sp>
      <p:sp>
        <p:nvSpPr>
          <p:cNvPr id="25" name="文本框 17">
            <a:extLst>
              <a:ext uri="{FF2B5EF4-FFF2-40B4-BE49-F238E27FC236}">
                <a16:creationId xmlns:a16="http://schemas.microsoft.com/office/drawing/2014/main" id="{986352A3-591E-4FAB-ACF2-88927B187F9E}"/>
              </a:ext>
            </a:extLst>
          </p:cNvPr>
          <p:cNvSpPr txBox="1"/>
          <p:nvPr/>
        </p:nvSpPr>
        <p:spPr>
          <a:xfrm>
            <a:off x="7759645" y="1093564"/>
            <a:ext cx="3806840" cy="3289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Aft>
                <a:spcPts val="300"/>
              </a:spcAft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参照药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E39C6C63-497B-44A4-8CD4-476CEAC7C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zh-CN" altLang="en-US" sz="3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注射用维布妥昔单抗基本信息（概览）</a:t>
            </a: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025CE42B-9A26-42A8-811F-0D5F17F7AA57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本信息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606745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D3E1007-1A3A-4DE9-83AC-55FBA868AE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456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98" imgH="499" progId="TCLayout.ActiveDocument.1">
                  <p:embed/>
                </p:oleObj>
              </mc:Choice>
              <mc:Fallback>
                <p:oleObj name="think-cell 幻灯片" r:id="rId4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D3E1007-1A3A-4DE9-83AC-55FBA868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矩形 49">
            <a:extLst>
              <a:ext uri="{FF2B5EF4-FFF2-40B4-BE49-F238E27FC236}">
                <a16:creationId xmlns:a16="http://schemas.microsoft.com/office/drawing/2014/main" id="{FF4F8800-AB37-6A16-3302-4600821288B1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92720A14-0D52-4588-ABE0-EA7E704F88D8}"/>
              </a:ext>
            </a:extLst>
          </p:cNvPr>
          <p:cNvSpPr txBox="1"/>
          <p:nvPr/>
        </p:nvSpPr>
        <p:spPr>
          <a:xfrm>
            <a:off x="543816" y="6465505"/>
            <a:ext cx="8459469" cy="276999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 [1] Pro B, et al. Blood. 2017 Dec 21;130(25):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709-2717 . [2] </a:t>
            </a:r>
            <a:r>
              <a:rPr lang="en-US" altLang="zh-CN" sz="6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Mak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Vivien et al. Journal of clinical oncology: official journal of the American Society of Clinical Oncology, 2013, 31(16): 1970-6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；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[3] C. Martínez et al. Annals of Oncology, 2013;00: 1-5. [4] </a:t>
            </a:r>
            <a:r>
              <a:rPr lang="en-US" altLang="zh-CN" sz="6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Diamandidou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E, Colome M, </a:t>
            </a:r>
            <a:r>
              <a:rPr lang="en-US" altLang="zh-CN" sz="6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Fayad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L, </a:t>
            </a:r>
            <a:r>
              <a:rPr lang="en-US" altLang="zh-CN" sz="6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Duvic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M, </a:t>
            </a:r>
            <a:r>
              <a:rPr lang="en-US" altLang="zh-CN" sz="6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Kurzrock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R. Prognostic factor analysis in mycosis fungoides/Sezary syndrome. J Am </a:t>
            </a:r>
            <a:r>
              <a:rPr lang="en-US" altLang="zh-CN" sz="6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Acad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Dermatol 1999;40: 914-24</a:t>
            </a:r>
            <a:endParaRPr lang="en" altLang="zh-CN" sz="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2C6C000-9F4D-415F-9270-9C4830F8D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08972"/>
            <a:ext cx="11137568" cy="703942"/>
          </a:xfrm>
        </p:spPr>
        <p:txBody>
          <a:bodyPr vert="horz"/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sALCL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和</a:t>
            </a:r>
            <a:r>
              <a:rPr kumimoji="0" lang="en-US" altLang="zh-CN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cHL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多发于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0-40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岁劳动力人群，我国缺乏有效的</a:t>
            </a:r>
            <a:r>
              <a:rPr lang="zh-CN" altLang="en-US" sz="36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二线治疗药物，维布妥昔单抗属</a:t>
            </a:r>
            <a:r>
              <a:rPr lang="zh-CN" altLang="en-US" sz="3600" b="1" kern="1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临床急需</a:t>
            </a:r>
            <a:endParaRPr lang="zh-CN" altLang="en-US" sz="3600" dirty="0">
              <a:solidFill>
                <a:srgbClr val="C00000"/>
              </a:solidFill>
              <a:ea typeface="Microsoft YaHei" panose="020B0503020204020204" pitchFamily="34" charset="-122"/>
            </a:endParaRPr>
          </a:p>
        </p:txBody>
      </p:sp>
      <p:graphicFrame>
        <p:nvGraphicFramePr>
          <p:cNvPr id="20" name="表格 8">
            <a:extLst>
              <a:ext uri="{FF2B5EF4-FFF2-40B4-BE49-F238E27FC236}">
                <a16:creationId xmlns:a16="http://schemas.microsoft.com/office/drawing/2014/main" id="{4118E13A-7773-42E8-8C00-BF9B32B892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2115921"/>
              </p:ext>
            </p:extLst>
          </p:nvPr>
        </p:nvGraphicFramePr>
        <p:xfrm>
          <a:off x="6299955" y="2015980"/>
          <a:ext cx="5406660" cy="32599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80163">
                  <a:extLst>
                    <a:ext uri="{9D8B030D-6E8A-4147-A177-3AD203B41FA5}">
                      <a16:colId xmlns:a16="http://schemas.microsoft.com/office/drawing/2014/main" val="4269178374"/>
                    </a:ext>
                  </a:extLst>
                </a:gridCol>
                <a:gridCol w="3726497">
                  <a:extLst>
                    <a:ext uri="{9D8B030D-6E8A-4147-A177-3AD203B41FA5}">
                      <a16:colId xmlns:a16="http://schemas.microsoft.com/office/drawing/2014/main" val="738898757"/>
                    </a:ext>
                  </a:extLst>
                </a:gridCol>
              </a:tblGrid>
              <a:tr h="42174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适应症及发病人数</a:t>
                      </a:r>
                    </a:p>
                  </a:txBody>
                  <a:tcPr marL="79028" marR="79028" marT="39514" marB="3951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当前疾病治疗现状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9028" marR="79028" marT="39514" marB="39514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025220"/>
                  </a:ext>
                </a:extLst>
              </a:tr>
              <a:tr h="9521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复发或难治</a:t>
                      </a:r>
                      <a:r>
                        <a:rPr lang="en-US" altLang="zh-CN" sz="1200" b="1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sALCL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~2,500</a:t>
                      </a:r>
                      <a:r>
                        <a:rPr lang="zh-CN" altLang="en-US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人）</a:t>
                      </a:r>
                      <a:endParaRPr lang="zh-CN" altLang="en-US" sz="1200" b="0" i="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9028" marR="79028" marT="39514" marB="3951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长达</a:t>
                      </a:r>
                      <a:r>
                        <a:rPr kumimoji="1" lang="en-US" altLang="zh-CN" sz="1200" b="0" i="0" kern="100" dirty="0">
                          <a:solidFill>
                            <a:schemeClr val="dk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20</a:t>
                      </a:r>
                      <a:r>
                        <a:rPr kumimoji="1" lang="zh-CN" altLang="en-US" sz="1200" b="0" i="0" kern="100" dirty="0">
                          <a:solidFill>
                            <a:schemeClr val="dk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lang="zh-CN" altLang="en-US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的回顾性研究发现，接受化疗的患者</a:t>
                      </a:r>
                      <a:r>
                        <a:rPr lang="zh-CN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中位无进展生存（</a:t>
                      </a:r>
                      <a:r>
                        <a:rPr lang="zh-CN" altLang="en-US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中位</a:t>
                      </a:r>
                      <a:r>
                        <a:rPr lang="en-US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PFS</a:t>
                      </a:r>
                      <a:r>
                        <a:rPr lang="zh-CN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）仅为</a:t>
                      </a:r>
                      <a:r>
                        <a:rPr kumimoji="1" lang="en-US" altLang="zh-CN" sz="2000" b="1" i="0" kern="100" dirty="0">
                          <a:solidFill>
                            <a:srgbClr val="C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1.8</a:t>
                      </a:r>
                      <a:r>
                        <a:rPr kumimoji="1" lang="zh-CN" altLang="zh-CN" sz="2000" b="1" i="0" kern="100" dirty="0">
                          <a:solidFill>
                            <a:srgbClr val="C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个月</a:t>
                      </a:r>
                      <a:r>
                        <a:rPr lang="zh-CN" altLang="zh-CN" sz="11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，</a:t>
                      </a:r>
                      <a:r>
                        <a:rPr lang="zh-CN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中位总体生存（</a:t>
                      </a:r>
                      <a:r>
                        <a:rPr lang="zh-CN" altLang="en-US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中位</a:t>
                      </a:r>
                      <a:r>
                        <a:rPr lang="en-US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OS</a:t>
                      </a:r>
                      <a:r>
                        <a:rPr lang="zh-CN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）为</a:t>
                      </a:r>
                      <a:r>
                        <a:rPr kumimoji="1" lang="en-US" altLang="zh-CN" sz="2000" b="1" i="0" kern="100" dirty="0">
                          <a:solidFill>
                            <a:srgbClr val="C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3.0</a:t>
                      </a:r>
                      <a:r>
                        <a:rPr kumimoji="1" lang="zh-CN" altLang="zh-CN" sz="2000" b="1" i="0" kern="100" dirty="0">
                          <a:solidFill>
                            <a:srgbClr val="C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个月</a:t>
                      </a:r>
                      <a:r>
                        <a:rPr kumimoji="1" lang="en-US" altLang="zh-CN" sz="1200" b="0" i="0" kern="100" baseline="30000" noProof="0" dirty="0">
                          <a:solidFill>
                            <a:schemeClr val="dk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[2] </a:t>
                      </a:r>
                      <a:endParaRPr kumimoji="1" lang="zh-CN" altLang="zh-CN" sz="1200" b="0" i="0" kern="100" baseline="30000" dirty="0">
                        <a:solidFill>
                          <a:schemeClr val="dk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9028" marR="79028" marT="39514" marB="3951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0317909"/>
                  </a:ext>
                </a:extLst>
              </a:tr>
              <a:tr h="7799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复发或难治</a:t>
                      </a:r>
                      <a:r>
                        <a:rPr lang="en-US" altLang="zh-CN" sz="1200" b="1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i="0" kern="100" dirty="0" err="1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HL</a:t>
                      </a:r>
                      <a:endParaRPr lang="en-US" altLang="zh-CN" sz="1200" b="1" i="0" kern="100" dirty="0"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~6,500</a:t>
                      </a:r>
                      <a:r>
                        <a:rPr lang="zh-CN" altLang="en-US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人</a:t>
                      </a:r>
                      <a:r>
                        <a:rPr lang="en-US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  <a:endParaRPr lang="zh-CN" altLang="en-US" sz="1200" b="0" i="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9028" marR="79028" marT="39514" marB="3951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使用大剂量化疗挽救治疗的</a:t>
                      </a:r>
                      <a:r>
                        <a:rPr lang="zh-CN" altLang="en-US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中位</a:t>
                      </a:r>
                      <a:r>
                        <a:rPr lang="en-US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OS</a:t>
                      </a:r>
                      <a:r>
                        <a:rPr lang="zh-CN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仅为</a:t>
                      </a:r>
                      <a:r>
                        <a:rPr kumimoji="1" lang="en-US" altLang="zh-CN" sz="2000" b="1" i="0" kern="100" dirty="0">
                          <a:solidFill>
                            <a:srgbClr val="C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19</a:t>
                      </a:r>
                      <a:r>
                        <a:rPr kumimoji="1" lang="zh-CN" altLang="zh-CN" sz="2000" b="1" i="0" kern="100" dirty="0">
                          <a:solidFill>
                            <a:srgbClr val="C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个月</a:t>
                      </a:r>
                      <a:r>
                        <a:rPr kumimoji="1" lang="en-US" altLang="zh-CN" sz="1100" b="0" i="0" kern="100" baseline="30000" noProof="0" dirty="0">
                          <a:solidFill>
                            <a:schemeClr val="dk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[3] </a:t>
                      </a:r>
                      <a:endParaRPr lang="zh-CN" altLang="zh-CN" sz="1200" b="0" i="0" kern="100" dirty="0"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9028" marR="79028" marT="39514" marB="3951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417417"/>
                  </a:ext>
                </a:extLst>
              </a:tr>
              <a:tr h="1106164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i="0" kern="0" dirty="0">
                          <a:solidFill>
                            <a:srgbClr val="000000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既往接受过系统性治疗的</a:t>
                      </a:r>
                      <a:r>
                        <a:rPr lang="en-US" altLang="zh-CN" sz="1200" b="1" i="0" kern="0" dirty="0" err="1">
                          <a:solidFill>
                            <a:srgbClr val="000000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pcALCL</a:t>
                      </a:r>
                      <a:r>
                        <a:rPr lang="zh-CN" altLang="en-US" sz="1200" b="1" i="0" kern="0" dirty="0">
                          <a:solidFill>
                            <a:srgbClr val="000000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和</a:t>
                      </a:r>
                      <a:r>
                        <a:rPr lang="en-US" altLang="zh-CN" sz="1200" b="1" i="0" kern="0" dirty="0">
                          <a:solidFill>
                            <a:srgbClr val="000000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MF</a:t>
                      </a:r>
                    </a:p>
                    <a:p>
                      <a:pPr algn="ctr"/>
                      <a:r>
                        <a:rPr lang="en-US" altLang="zh-CN" sz="1200" b="0" i="0" kern="0" dirty="0">
                          <a:solidFill>
                            <a:srgbClr val="000000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(~410</a:t>
                      </a:r>
                      <a:r>
                        <a:rPr lang="zh-CN" altLang="en-US" sz="1200" b="0" i="0" kern="0" dirty="0">
                          <a:solidFill>
                            <a:srgbClr val="000000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b="0" i="0" kern="0" dirty="0">
                          <a:solidFill>
                            <a:srgbClr val="000000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)</a:t>
                      </a:r>
                      <a:endParaRPr lang="zh-CN" altLang="en-US" sz="1200" b="0" i="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9028" marR="79028" marT="39514" marB="3951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4363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zh-CN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皮肤</a:t>
                      </a:r>
                      <a:r>
                        <a:rPr lang="en-US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T</a:t>
                      </a:r>
                      <a:r>
                        <a:rPr lang="zh-CN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细胞淋巴瘤</a:t>
                      </a:r>
                      <a:r>
                        <a:rPr kumimoji="1" lang="zh-CN" altLang="zh-CN" sz="2000" b="1" i="0" kern="100" dirty="0">
                          <a:solidFill>
                            <a:srgbClr val="C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传统化疗的缓解率低</a:t>
                      </a:r>
                      <a:r>
                        <a:rPr lang="zh-CN" altLang="zh-CN" sz="1200" b="0" i="0" kern="1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，且多次化疗易导致免疫抑制和感染</a:t>
                      </a:r>
                      <a:r>
                        <a:rPr kumimoji="1" lang="en-US" altLang="zh-CN" sz="1200" b="0" i="0" kern="100" baseline="30000" noProof="0" dirty="0">
                          <a:solidFill>
                            <a:schemeClr val="dk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[4] </a:t>
                      </a:r>
                      <a:endParaRPr lang="zh-CN" altLang="en-US" sz="1200" b="0" i="0" baseline="30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9028" marR="79028" marT="39514" marB="3951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4363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0914456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0227D5A5-F448-4976-BD6C-8D55F0EC584E}"/>
              </a:ext>
            </a:extLst>
          </p:cNvPr>
          <p:cNvSpPr txBox="1"/>
          <p:nvPr/>
        </p:nvSpPr>
        <p:spPr>
          <a:xfrm>
            <a:off x="5831630" y="1386552"/>
            <a:ext cx="5898468" cy="3965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120000"/>
              </a:lnSpc>
              <a:spcAft>
                <a:spcPts val="200"/>
              </a:spcAft>
            </a:pPr>
            <a:r>
              <a:rPr lang="zh-CN" altLang="zh-CN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目前</a:t>
            </a:r>
            <a:r>
              <a:rPr lang="zh-CN" altLang="zh-CN" b="1" kern="100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化疗药物</a:t>
            </a:r>
            <a:r>
              <a:rPr lang="zh-CN" altLang="en-US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是</a:t>
            </a:r>
            <a:r>
              <a:rPr lang="zh-CN" altLang="zh-CN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临床最常用的治疗，但</a:t>
            </a:r>
            <a:r>
              <a:rPr lang="zh-CN" altLang="zh-CN" b="1" kern="100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生存率极低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1] </a:t>
            </a:r>
          </a:p>
        </p:txBody>
      </p:sp>
      <p:sp>
        <p:nvSpPr>
          <p:cNvPr id="21" name="TextBox 28">
            <a:extLst>
              <a:ext uri="{FF2B5EF4-FFF2-40B4-BE49-F238E27FC236}">
                <a16:creationId xmlns:a16="http://schemas.microsoft.com/office/drawing/2014/main" id="{EF669C42-4064-4455-8D38-1B439271F972}"/>
              </a:ext>
            </a:extLst>
          </p:cNvPr>
          <p:cNvSpPr txBox="1"/>
          <p:nvPr/>
        </p:nvSpPr>
        <p:spPr>
          <a:xfrm>
            <a:off x="0" y="1380396"/>
            <a:ext cx="6199578" cy="3965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>
              <a:lnSpc>
                <a:spcPct val="120000"/>
              </a:lnSpc>
              <a:spcAft>
                <a:spcPts val="200"/>
              </a:spcAft>
            </a:pPr>
            <a:r>
              <a:rPr lang="zh-CN" altLang="en-US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基于临床急需维布妥昔单抗被纳入</a:t>
            </a:r>
            <a:r>
              <a:rPr lang="zh-CN" altLang="en-US" b="1" kern="100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优先审评</a:t>
            </a:r>
          </a:p>
        </p:txBody>
      </p:sp>
      <p:sp>
        <p:nvSpPr>
          <p:cNvPr id="17" name="矩形 3">
            <a:extLst>
              <a:ext uri="{FF2B5EF4-FFF2-40B4-BE49-F238E27FC236}">
                <a16:creationId xmlns:a16="http://schemas.microsoft.com/office/drawing/2014/main" id="{52EA2AA9-8450-44B7-A668-740E97FF0E47}"/>
              </a:ext>
            </a:extLst>
          </p:cNvPr>
          <p:cNvSpPr/>
          <p:nvPr/>
        </p:nvSpPr>
        <p:spPr>
          <a:xfrm>
            <a:off x="594982" y="5560913"/>
            <a:ext cx="11135115" cy="6630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3D15663-E96F-4790-B2F5-FEB3BA8521F7}"/>
              </a:ext>
            </a:extLst>
          </p:cNvPr>
          <p:cNvSpPr txBox="1"/>
          <p:nvPr/>
        </p:nvSpPr>
        <p:spPr>
          <a:xfrm>
            <a:off x="1913191" y="5585774"/>
            <a:ext cx="9429887" cy="5874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20000"/>
              </a:lnSpc>
              <a:spcAft>
                <a:spcPts val="200"/>
              </a:spcAft>
            </a:pPr>
            <a:r>
              <a:rPr lang="en-US" altLang="zh-CN" sz="1400" b="1" kern="1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sALCL</a:t>
            </a:r>
            <a:r>
              <a:rPr lang="zh-CN" altLang="en-US" sz="1400" b="1" kern="1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和</a:t>
            </a:r>
            <a:r>
              <a:rPr lang="en-US" altLang="zh-CN" sz="1400" b="1" kern="100" dirty="0" err="1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HL</a:t>
            </a:r>
            <a:r>
              <a:rPr lang="zh-CN" altLang="en-US" sz="1400" b="1" kern="1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患者中位年龄</a:t>
            </a:r>
            <a:r>
              <a:rPr lang="en-US" altLang="zh-CN" sz="1400" b="1" kern="1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32</a:t>
            </a:r>
            <a:r>
              <a:rPr lang="zh-CN" altLang="en-US" sz="1400" b="1" kern="1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岁</a:t>
            </a:r>
            <a:r>
              <a:rPr lang="zh-CN" altLang="en-US" sz="1400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患者因病导致失业或辍学的比例高达</a:t>
            </a:r>
            <a:r>
              <a:rPr lang="en-US" altLang="zh-CN" sz="1400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80%</a:t>
            </a:r>
            <a:r>
              <a:rPr lang="zh-CN" altLang="en-US" sz="1400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因疾病引起的过早死亡，给家庭带来沉重经济负担，同时造成沉重的社会生产力损失。</a:t>
            </a:r>
            <a:r>
              <a:rPr lang="zh-CN" altLang="zh-CN" sz="14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进展至复发或难治</a:t>
            </a:r>
            <a:r>
              <a:rPr lang="zh-CN" altLang="zh-CN" sz="1400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zh-CN" sz="14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缺乏有效的标准治疗</a:t>
            </a:r>
            <a:endParaRPr lang="en-US" altLang="zh-CN" sz="1400" b="1" kern="1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23" name="图形 6" descr="男人群 轮廓">
            <a:extLst>
              <a:ext uri="{FF2B5EF4-FFF2-40B4-BE49-F238E27FC236}">
                <a16:creationId xmlns:a16="http://schemas.microsoft.com/office/drawing/2014/main" id="{8FEB4298-35EF-4088-8BDB-848A037BF1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1686" y="5616256"/>
            <a:ext cx="564486" cy="564486"/>
          </a:xfrm>
          <a:prstGeom prst="rect">
            <a:avLst/>
          </a:prstGeom>
        </p:spPr>
      </p:pic>
      <p:graphicFrame>
        <p:nvGraphicFramePr>
          <p:cNvPr id="18" name="表格 8">
            <a:extLst>
              <a:ext uri="{FF2B5EF4-FFF2-40B4-BE49-F238E27FC236}">
                <a16:creationId xmlns:a16="http://schemas.microsoft.com/office/drawing/2014/main" id="{C07D4FAB-A91B-4142-AFF8-E62B1E86B2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2772820"/>
              </p:ext>
            </p:extLst>
          </p:nvPr>
        </p:nvGraphicFramePr>
        <p:xfrm>
          <a:off x="626988" y="1972533"/>
          <a:ext cx="5406660" cy="33468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6660">
                  <a:extLst>
                    <a:ext uri="{9D8B030D-6E8A-4147-A177-3AD203B41FA5}">
                      <a16:colId xmlns:a16="http://schemas.microsoft.com/office/drawing/2014/main" val="738898757"/>
                    </a:ext>
                  </a:extLst>
                </a:gridCol>
              </a:tblGrid>
              <a:tr h="57119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kumimoji="1" lang="zh-CN" altLang="en-US" sz="14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注射用维布妥西单抗（</a:t>
                      </a:r>
                      <a:r>
                        <a:rPr kumimoji="1" lang="en-US" altLang="zh-CN" sz="14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JXSS1900015)</a:t>
                      </a:r>
                      <a:r>
                        <a:rPr kumimoji="1" lang="zh-CN" altLang="en-US" sz="14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申请上市技术审评报告</a:t>
                      </a:r>
                      <a:endParaRPr kumimoji="1" lang="en-US" altLang="zh-CN" sz="14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80975" algn="ctr">
                        <a:defRPr/>
                      </a:pPr>
                      <a:r>
                        <a:rPr kumimoji="1" lang="zh-CN" altLang="en-US" sz="1400" b="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原文节选</a:t>
                      </a:r>
                      <a:endParaRPr kumimoji="1" lang="en-US" altLang="zh-CN" sz="1400" b="0" i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9028" marR="79028" marT="39514" marB="39514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025220"/>
                  </a:ext>
                </a:extLst>
              </a:tr>
              <a:tr h="913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i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i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i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“对于复发或难治性</a:t>
                      </a:r>
                      <a:r>
                        <a:rPr lang="en-US" altLang="zh-CN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ALCL</a:t>
                      </a:r>
                      <a:r>
                        <a:rPr lang="zh-CN" altLang="en-US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和</a:t>
                      </a:r>
                      <a:r>
                        <a:rPr lang="en-US" altLang="zh-CN" sz="1200" i="1" dirty="0" err="1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HL</a:t>
                      </a:r>
                      <a:r>
                        <a:rPr lang="zh-CN" altLang="en-US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患者，临床实践中</a:t>
                      </a:r>
                      <a:r>
                        <a:rPr lang="zh-CN" altLang="en-US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缺乏标准的二线治疗药物</a:t>
                      </a:r>
                      <a:r>
                        <a:rPr lang="en-US" altLang="zh-CN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”</a:t>
                      </a:r>
                    </a:p>
                  </a:txBody>
                  <a:tcPr marL="360000" marR="360000" marT="39514" marB="3951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0317909"/>
                  </a:ext>
                </a:extLst>
              </a:tr>
              <a:tr h="4495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“R/R sALCL</a:t>
                      </a:r>
                      <a:r>
                        <a:rPr lang="zh-CN" altLang="en-US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，</a:t>
                      </a:r>
                      <a:r>
                        <a:rPr lang="zh-CN" altLang="en-US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境外批准药物仅有</a:t>
                      </a:r>
                      <a:r>
                        <a:rPr lang="zh-CN" altLang="en-US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维布妥昔单抗</a:t>
                      </a:r>
                      <a:r>
                        <a:rPr lang="zh-CN" altLang="en-US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，</a:t>
                      </a:r>
                      <a:r>
                        <a:rPr lang="zh-CN" altLang="en-US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境</a:t>
                      </a:r>
                      <a:r>
                        <a:rPr lang="zh-CN" altLang="en-US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内无批准药物</a:t>
                      </a:r>
                      <a:r>
                        <a:rPr lang="en-US" altLang="zh-CN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”</a:t>
                      </a:r>
                    </a:p>
                  </a:txBody>
                  <a:tcPr marL="360000" marR="360000" marT="39514" marB="3951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417417"/>
                  </a:ext>
                </a:extLst>
              </a:tr>
              <a:tr h="6398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“</a:t>
                      </a:r>
                      <a:r>
                        <a:rPr lang="zh-CN" altLang="en-US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大剂量化疗联合自体造血干细胞移植是治疗</a:t>
                      </a:r>
                      <a:r>
                        <a:rPr lang="zh-CN" altLang="en-US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R/R HL</a:t>
                      </a:r>
                      <a:r>
                        <a:rPr lang="zh-CN" altLang="en-US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患者的首选方案，但有效率仅</a:t>
                      </a:r>
                      <a:r>
                        <a:rPr lang="en-US" altLang="zh-CN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~50%</a:t>
                      </a:r>
                      <a:r>
                        <a:rPr lang="zh-CN" altLang="en-US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生存率低至</a:t>
                      </a:r>
                      <a:r>
                        <a:rPr lang="en-US" altLang="zh-CN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%~30%</a:t>
                      </a:r>
                      <a:r>
                        <a:rPr lang="zh-CN" altLang="en-US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。目前我国</a:t>
                      </a:r>
                      <a:r>
                        <a:rPr lang="zh-CN" altLang="en-US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已批准的卡瑞丽珠单抗和信迪利单抗注射只用于三线治疗 </a:t>
                      </a:r>
                      <a:r>
                        <a:rPr lang="en-US" altLang="zh-CN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R/R HL”</a:t>
                      </a:r>
                    </a:p>
                  </a:txBody>
                  <a:tcPr marL="360000" marR="360000" marT="39514" marB="3951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044941"/>
                  </a:ext>
                </a:extLst>
              </a:tr>
              <a:tr h="6928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“</a:t>
                      </a:r>
                      <a:r>
                        <a:rPr lang="zh-CN" altLang="en-US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对于</a:t>
                      </a:r>
                      <a:r>
                        <a:rPr lang="en-US" altLang="zh-CN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R/R HL</a:t>
                      </a:r>
                      <a:r>
                        <a:rPr lang="zh-CN" altLang="en-US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和</a:t>
                      </a:r>
                      <a:r>
                        <a:rPr lang="en-US" altLang="zh-CN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R/R sALCL</a:t>
                      </a:r>
                      <a:r>
                        <a:rPr lang="zh-CN" altLang="en-US" sz="1200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的</a:t>
                      </a:r>
                      <a:r>
                        <a:rPr lang="zh-CN" altLang="en-US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二线治疗药物仍然是</a:t>
                      </a:r>
                      <a:r>
                        <a:rPr lang="zh-CN" altLang="en-US" sz="1600" b="1" i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临床急需药物</a:t>
                      </a:r>
                      <a:r>
                        <a:rPr lang="en-US" altLang="zh-CN" sz="1200" b="1" i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”</a:t>
                      </a:r>
                    </a:p>
                  </a:txBody>
                  <a:tcPr marL="360000" marR="360000" marT="39514" marB="3951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0914456"/>
                  </a:ext>
                </a:extLst>
              </a:tr>
            </a:tbl>
          </a:graphicData>
        </a:graphic>
      </p:graphicFrame>
      <p:sp>
        <p:nvSpPr>
          <p:cNvPr id="15" name="Rectangle 7">
            <a:extLst>
              <a:ext uri="{FF2B5EF4-FFF2-40B4-BE49-F238E27FC236}">
                <a16:creationId xmlns:a16="http://schemas.microsoft.com/office/drawing/2014/main" id="{D1D2F54D-00F4-42B1-8FBB-00EF89EB87F1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本信息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C0F64314-D2D2-4861-98D2-47217FF9789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50" t="88882" r="42505" b="2808"/>
          <a:stretch/>
        </p:blipFill>
        <p:spPr>
          <a:xfrm>
            <a:off x="919164" y="2679346"/>
            <a:ext cx="3285902" cy="27417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824474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88886B-D696-4AAA-9D18-8DB3B036F2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7679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3" imgW="498" imgH="499" progId="TCLayout.ActiveDocument.1">
                  <p:embed/>
                </p:oleObj>
              </mc:Choice>
              <mc:Fallback>
                <p:oleObj name="think-cell 幻灯片" r:id="rId33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88886B-D696-4AAA-9D18-8DB3B036F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>
            <a:extLst>
              <a:ext uri="{FF2B5EF4-FFF2-40B4-BE49-F238E27FC236}">
                <a16:creationId xmlns:a16="http://schemas.microsoft.com/office/drawing/2014/main" id="{98229382-EE1E-E2CB-5F72-7E375472844A}"/>
              </a:ext>
            </a:extLst>
          </p:cNvPr>
          <p:cNvSpPr/>
          <p:nvPr/>
        </p:nvSpPr>
        <p:spPr>
          <a:xfrm>
            <a:off x="563459" y="3192463"/>
            <a:ext cx="11090274" cy="32607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Microsoft YaHei" panose="020B0503020204020204" pitchFamily="34" charset="-122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988C77F8-5CAE-443D-BC91-3F9BD7155C76}"/>
              </a:ext>
            </a:extLst>
          </p:cNvPr>
          <p:cNvSpPr/>
          <p:nvPr/>
        </p:nvSpPr>
        <p:spPr>
          <a:xfrm>
            <a:off x="588963" y="3216275"/>
            <a:ext cx="11064770" cy="465138"/>
          </a:xfrm>
          <a:prstGeom prst="rect">
            <a:avLst/>
          </a:prstGeom>
          <a:solidFill>
            <a:srgbClr val="FCE7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8E16CF1B-5192-3DC8-459A-BFE5938CBA9B}"/>
              </a:ext>
            </a:extLst>
          </p:cNvPr>
          <p:cNvSpPr txBox="1"/>
          <p:nvPr/>
        </p:nvSpPr>
        <p:spPr>
          <a:xfrm>
            <a:off x="2307772" y="3192463"/>
            <a:ext cx="7576458" cy="396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维布妥昔单抗与化疗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DHAP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药物</a:t>
            </a: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的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级不良反应发生率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3FF6E65-040F-9B5E-8A29-25496361C5B9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09E0A83E-6C9E-4C0C-F3CC-27FB1680E86C}"/>
              </a:ext>
            </a:extLst>
          </p:cNvPr>
          <p:cNvGrpSpPr/>
          <p:nvPr/>
        </p:nvGrpSpPr>
        <p:grpSpPr>
          <a:xfrm>
            <a:off x="550864" y="1144588"/>
            <a:ext cx="11090274" cy="1841500"/>
            <a:chOff x="550864" y="889707"/>
            <a:chExt cx="11090274" cy="1840659"/>
          </a:xfrm>
        </p:grpSpPr>
        <p:sp>
          <p:nvSpPr>
            <p:cNvPr id="20" name="圆角矩形 19">
              <a:extLst>
                <a:ext uri="{FF2B5EF4-FFF2-40B4-BE49-F238E27FC236}">
                  <a16:creationId xmlns:a16="http://schemas.microsoft.com/office/drawing/2014/main" id="{04D22144-BEB1-59E1-9886-0E78B06257F2}"/>
                </a:ext>
              </a:extLst>
            </p:cNvPr>
            <p:cNvSpPr/>
            <p:nvPr/>
          </p:nvSpPr>
          <p:spPr>
            <a:xfrm>
              <a:off x="550864" y="889707"/>
              <a:ext cx="11090274" cy="1840659"/>
            </a:xfrm>
            <a:prstGeom prst="roundRect">
              <a:avLst>
                <a:gd name="adj" fmla="val 0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zh-CN" altLang="en-US" sz="1200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角矩形 19">
              <a:extLst>
                <a:ext uri="{FF2B5EF4-FFF2-40B4-BE49-F238E27FC236}">
                  <a16:creationId xmlns:a16="http://schemas.microsoft.com/office/drawing/2014/main" id="{CA25B5AC-35A3-008F-150C-BE506ED5E1E5}"/>
                </a:ext>
              </a:extLst>
            </p:cNvPr>
            <p:cNvSpPr/>
            <p:nvPr/>
          </p:nvSpPr>
          <p:spPr>
            <a:xfrm>
              <a:off x="723900" y="1038988"/>
              <a:ext cx="10917236" cy="1542097"/>
            </a:xfrm>
            <a:prstGeom prst="roundRect">
              <a:avLst>
                <a:gd name="adj" fmla="val 2255"/>
              </a:avLst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lnSpc>
                  <a:spcPct val="150000"/>
                </a:lnSpc>
                <a:spcBef>
                  <a:spcPts val="600"/>
                </a:spcBef>
              </a:pPr>
              <a:r>
                <a:rPr lang="zh-CN" altLang="en-US" sz="1600" b="1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维布妥昔单抗最常报告的治疗相关不良事件（≥</a:t>
              </a:r>
              <a:r>
                <a:rPr lang="en-US" altLang="zh-CN" sz="1600" b="1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3</a:t>
              </a:r>
              <a:r>
                <a:rPr lang="zh-CN" altLang="en-US" sz="1600" b="1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级）为血液学毒性事件和周围神经病变，事件总体可控且可逆</a:t>
              </a:r>
            </a:p>
            <a:p>
              <a:pPr marL="216000" lvl="0" indent="-216000">
                <a:lnSpc>
                  <a:spcPct val="15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altLang="zh-CN" sz="1400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R/R sALCL 5</a:t>
              </a:r>
              <a:r>
                <a:rPr lang="zh-CN" altLang="en-US" sz="1400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年长期随访，</a:t>
              </a:r>
              <a:r>
                <a:rPr lang="en-US" altLang="zh-CN" sz="1400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67%</a:t>
              </a:r>
              <a:r>
                <a:rPr lang="zh-CN" altLang="en-US" sz="1400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患者的周围神经病变症状完全消退</a:t>
              </a:r>
              <a:r>
                <a:rPr kumimoji="1" lang="en-US" altLang="zh-CN" sz="1400" b="0" i="0" kern="100" baseline="30000" noProof="0" dirty="0">
                  <a:solidFill>
                    <a:schemeClr val="dk1"/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[1] </a:t>
              </a:r>
              <a:endParaRPr lang="zh-CN" altLang="en-US" sz="1400" kern="100" baseline="30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endParaRPr>
            </a:p>
            <a:p>
              <a:pPr marL="216000" lvl="0" indent="-216000">
                <a:lnSpc>
                  <a:spcPct val="15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altLang="zh-CN" sz="1400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R/R </a:t>
              </a:r>
              <a:r>
                <a:rPr lang="en-US" altLang="zh-CN" sz="1400" kern="100" dirty="0" err="1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cHL</a:t>
              </a:r>
              <a:r>
                <a:rPr lang="en-US" altLang="zh-CN" sz="1400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 3</a:t>
              </a:r>
              <a:r>
                <a:rPr lang="zh-CN" altLang="en-US" sz="1400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年随访，</a:t>
              </a:r>
              <a:r>
                <a:rPr lang="en-US" altLang="zh-CN" sz="1400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73%</a:t>
              </a:r>
              <a:r>
                <a:rPr lang="zh-CN" altLang="en-US" sz="1400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患者的周围神经病变症状完全消退</a:t>
              </a:r>
              <a:r>
                <a:rPr kumimoji="1" lang="en-US" altLang="zh-CN" sz="1400" b="0" i="0" kern="100" baseline="30000" noProof="0" dirty="0">
                  <a:solidFill>
                    <a:schemeClr val="dk1"/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[2] </a:t>
              </a:r>
              <a:endParaRPr lang="en-US" altLang="zh-CN" sz="800" kern="100" dirty="0">
                <a:solidFill>
                  <a:schemeClr val="tx1"/>
                </a:solidFill>
                <a:highlight>
                  <a:srgbClr val="FFFF00"/>
                </a:highlight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endParaRPr>
            </a:p>
            <a:p>
              <a:pPr lvl="0">
                <a:lnSpc>
                  <a:spcPct val="150000"/>
                </a:lnSpc>
                <a:spcBef>
                  <a:spcPts val="600"/>
                </a:spcBef>
              </a:pPr>
              <a:r>
                <a:rPr lang="zh-CN" altLang="en-US" sz="1600" b="1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维布妥昔单抗已有</a:t>
              </a:r>
              <a:r>
                <a:rPr lang="en-US" altLang="zh-CN" sz="1600" b="1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10</a:t>
              </a:r>
              <a:r>
                <a:rPr lang="zh-CN" altLang="en-US" sz="1600" b="1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余年全球治疗经验，超</a:t>
              </a:r>
              <a:r>
                <a:rPr lang="en-US" altLang="zh-CN" sz="1600" b="1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195</a:t>
              </a:r>
              <a:r>
                <a:rPr lang="zh-CN" altLang="en-US" sz="1600" b="1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项临床试验，惠及全球超</a:t>
              </a:r>
              <a:r>
                <a:rPr lang="en-US" altLang="zh-CN" sz="1600" b="1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97,000</a:t>
              </a:r>
              <a:r>
                <a:rPr lang="zh-CN" altLang="en-US" sz="1600" b="1" kern="1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患者，安全性良好可控</a:t>
              </a:r>
              <a:endParaRPr lang="en-US" altLang="zh-CN" sz="800" kern="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8" name="文本框 17">
            <a:extLst>
              <a:ext uri="{FF2B5EF4-FFF2-40B4-BE49-F238E27FC236}">
                <a16:creationId xmlns:a16="http://schemas.microsoft.com/office/drawing/2014/main" id="{50D15E73-86A2-41F9-8E52-B7AEF9D1AAE6}"/>
              </a:ext>
            </a:extLst>
          </p:cNvPr>
          <p:cNvSpPr txBox="1"/>
          <p:nvPr/>
        </p:nvSpPr>
        <p:spPr>
          <a:xfrm>
            <a:off x="550795" y="6673334"/>
            <a:ext cx="8110605" cy="184666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1] Pro B, et al. Blood. 2017 Dec 21;130(25):2709-2717 .[2] Younes A et al. J Clin Oncol. 2012 Jun 20;30(18):2183-9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. [3] 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注射用维布妥昔单抗（安适利</a:t>
            </a:r>
            <a:r>
              <a:rPr lang="en-US" altLang="zh-CN" sz="600" baseline="30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®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说明书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.[4]Velasquez WS, et al. Blood. 1988 Jan;71(1):117-22.    </a:t>
            </a:r>
            <a:endParaRPr kumimoji="0" lang="en-US" altLang="zh-CN" sz="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C29D124F-E734-457A-AEE9-0B1B55B76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19858"/>
            <a:ext cx="11262135" cy="703942"/>
          </a:xfrm>
        </p:spPr>
        <p:txBody>
          <a:bodyPr vert="horz"/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维布妥昔单抗全球上市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超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0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年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，拥有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近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200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项临床试验和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0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万例患者真实世界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使用经验，安全性良好可控</a:t>
            </a:r>
            <a:endParaRPr lang="zh-CN" altLang="en-US" sz="3600" dirty="0">
              <a:ea typeface="Microsoft YaHei" panose="020B0503020204020204" pitchFamily="3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2A0FBC1-BED2-4978-8488-271E21E3187B}"/>
              </a:ext>
            </a:extLst>
          </p:cNvPr>
          <p:cNvSpPr txBox="1"/>
          <p:nvPr/>
        </p:nvSpPr>
        <p:spPr>
          <a:xfrm>
            <a:off x="3519487" y="6086475"/>
            <a:ext cx="6353628" cy="33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i="1" kern="1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维布妥昔单抗不同类别</a:t>
            </a:r>
            <a:r>
              <a:rPr lang="en-US" altLang="zh-CN" sz="1600" b="1" i="1" kern="1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≥3</a:t>
            </a:r>
            <a:r>
              <a:rPr lang="zh-CN" altLang="zh-CN" sz="1600" b="1" i="1" kern="1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级不良反应</a:t>
            </a:r>
            <a:r>
              <a:rPr lang="zh-CN" altLang="en-US" sz="1600" b="1" i="1" kern="1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均显著小于</a:t>
            </a:r>
            <a:r>
              <a:rPr lang="en-US" altLang="zh-CN" sz="1600" b="1" i="1" kern="100" dirty="0">
                <a:solidFill>
                  <a:srgbClr val="C00000"/>
                </a:solidFill>
                <a:highlight>
                  <a:srgbClr val="FFFFFF"/>
                </a:highlight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DHAP</a:t>
            </a:r>
            <a:endParaRPr lang="zh-CN" altLang="en-US" sz="1600" b="1" i="1" kern="100" dirty="0">
              <a:solidFill>
                <a:srgbClr val="C00000"/>
              </a:solidFill>
              <a:highlight>
                <a:srgbClr val="FFFFFF"/>
              </a:highlight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77" name="Chart 3">
            <a:extLst>
              <a:ext uri="{FF2B5EF4-FFF2-40B4-BE49-F238E27FC236}">
                <a16:creationId xmlns:a16="http://schemas.microsoft.com/office/drawing/2014/main" id="{DD4BB48C-5BF1-447E-9689-62EDAD2390A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87472"/>
              </p:ext>
            </p:extLst>
          </p:nvPr>
        </p:nvGraphicFramePr>
        <p:xfrm>
          <a:off x="3151188" y="4005263"/>
          <a:ext cx="1433512" cy="1993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221" name="テキスト プレースホルダ 2">
            <a:extLst>
              <a:ext uri="{FF2B5EF4-FFF2-40B4-BE49-F238E27FC236}">
                <a16:creationId xmlns:a16="http://schemas.microsoft.com/office/drawing/2014/main" id="{F284DDA3-162C-42BA-AF3D-FAAAA1C59B8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184650" y="4732338"/>
            <a:ext cx="231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E9CDB3D-DB07-4A2A-94D4-498119D72962}" type="datetime'''''''''''''''''''''''''''''''''''''''''1''%'">
              <a:rPr lang="en-US" altLang="en-US" sz="1200" smtClean="0">
                <a:latin typeface="+mn-lt"/>
                <a:ea typeface="メイリオ" panose="020B0604030504040204" pitchFamily="34" charset="-128"/>
              </a:rPr>
              <a:pPr/>
              <a:t>1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97" name="テキスト プレースホルダ 2">
            <a:extLst>
              <a:ext uri="{FF2B5EF4-FFF2-40B4-BE49-F238E27FC236}">
                <a16:creationId xmlns:a16="http://schemas.microsoft.com/office/drawing/2014/main" id="{EB892145-C2C1-4180-8FC3-9CD50B1AA5C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441700" y="4957763"/>
            <a:ext cx="309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D55ED78-B344-4C07-BCA8-71974249411E}" type="datetime'''''''''''''''''''''''''''''''''1''2''%'''''''''''''''''''">
              <a:rPr lang="en-US" altLang="en-US" sz="1200" smtClean="0">
                <a:latin typeface="+mn-lt"/>
              </a:rPr>
              <a:pPr/>
              <a:t>12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92" name="テキスト プレースホルダ 2">
            <a:extLst>
              <a:ext uri="{FF2B5EF4-FFF2-40B4-BE49-F238E27FC236}">
                <a16:creationId xmlns:a16="http://schemas.microsoft.com/office/drawing/2014/main" id="{D672BAF2-44C7-42A8-8E85-4FB1BCF751D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898775" y="4037013"/>
            <a:ext cx="309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468D698-5BDC-4542-99D3-5A64ED46A012}" type="datetime'''2''''''''''''''''''''''''1''''''''''''''%'''">
              <a:rPr lang="en-US" altLang="en-US" sz="1200" smtClean="0">
                <a:effectLst/>
                <a:latin typeface="+mn-lt"/>
                <a:ea typeface="メイリオ" panose="020B0604030504040204" pitchFamily="34" charset="-128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93" name="テキスト プレースホルダ 2">
            <a:extLst>
              <a:ext uri="{FF2B5EF4-FFF2-40B4-BE49-F238E27FC236}">
                <a16:creationId xmlns:a16="http://schemas.microsoft.com/office/drawing/2014/main" id="{D152D8F1-0B48-415A-90C6-4212A5C21EC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898775" y="4173538"/>
            <a:ext cx="309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6DBFB8A-916C-4056-9C33-EFAE8327E206}" type="datetime'''''2''''''''''''''''''''1''''%'">
              <a:rPr lang="en-US" altLang="en-US" sz="1200" smtClean="0">
                <a:effectLst/>
                <a:latin typeface="+mn-lt"/>
                <a:ea typeface="メイリオ" panose="020B0604030504040204" pitchFamily="34" charset="-128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94" name="テキスト プレースホルダ 2">
            <a:extLst>
              <a:ext uri="{FF2B5EF4-FFF2-40B4-BE49-F238E27FC236}">
                <a16:creationId xmlns:a16="http://schemas.microsoft.com/office/drawing/2014/main" id="{25E3E020-1509-40D4-A556-1A00A9DA7DB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943350" y="4305300"/>
            <a:ext cx="231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42A87B3-671D-4763-A847-33C85740F242}" type="datetime'''''''''''''''''''''''''''''''''''5''''%'''''''''''''''''''">
              <a:rPr lang="en-US" altLang="en-US" sz="1200" smtClean="0">
                <a:latin typeface="+mn-lt"/>
              </a:rPr>
              <a:pPr/>
              <a:t>5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95" name="テキスト プレースホルダ 2">
            <a:extLst>
              <a:ext uri="{FF2B5EF4-FFF2-40B4-BE49-F238E27FC236}">
                <a16:creationId xmlns:a16="http://schemas.microsoft.com/office/drawing/2014/main" id="{A485CD68-55AE-4FA2-B78A-EE7A23F2B23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702050" y="4435475"/>
            <a:ext cx="231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CB7D5A3-A7AA-4317-9060-CD833A1CF5BB}" type="datetime'''''''9%'''''''''''''''''''''''''">
              <a:rPr lang="en-US" altLang="en-US" sz="1200" smtClean="0">
                <a:latin typeface="+mn-lt"/>
              </a:rPr>
              <a:pPr/>
              <a:t>9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220" name="テキスト プレースホルダ 2">
            <a:extLst>
              <a:ext uri="{FF2B5EF4-FFF2-40B4-BE49-F238E27FC236}">
                <a16:creationId xmlns:a16="http://schemas.microsoft.com/office/drawing/2014/main" id="{50B22B67-BA61-40A9-8246-F20A2270065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064000" y="4602163"/>
            <a:ext cx="231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1AAFA2-F4DB-4AFB-B36C-0A8CE1B90E40}" type="datetime'''''''''''''''''3''%'''''''''''''''''''">
              <a:rPr lang="en-US" altLang="en-US" sz="1200" smtClean="0">
                <a:latin typeface="+mn-lt"/>
                <a:ea typeface="メイリオ" panose="020B0604030504040204" pitchFamily="34" charset="-128"/>
              </a:rPr>
              <a:pPr/>
              <a:t>3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96" name="テキスト プレースホルダ 2">
            <a:extLst>
              <a:ext uri="{FF2B5EF4-FFF2-40B4-BE49-F238E27FC236}">
                <a16:creationId xmlns:a16="http://schemas.microsoft.com/office/drawing/2014/main" id="{F73A137D-D0F1-4EC3-988F-6EE19C4CDD4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441700" y="4821238"/>
            <a:ext cx="309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D5E2108-A340-4F59-813F-EA945BD3062E}" type="datetime'''''1''''2''''''''''''''''''''''''''''''''''''''%'''''''">
              <a:rPr lang="en-US" altLang="en-US" sz="1200" smtClean="0">
                <a:latin typeface="+mn-lt"/>
              </a:rPr>
              <a:pPr/>
              <a:t>12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98" name="テキスト プレースホルダ 2">
            <a:extLst>
              <a:ext uri="{FF2B5EF4-FFF2-40B4-BE49-F238E27FC236}">
                <a16:creationId xmlns:a16="http://schemas.microsoft.com/office/drawing/2014/main" id="{4F482FB8-E821-4537-B4AC-CAEA5E57E37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124325" y="5087938"/>
            <a:ext cx="231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3552D97-C9E2-4409-936D-DEB4A4652155}" type="datetime'''''''''2%'''''''''''''''''''''''''''''''''''''''''''">
              <a:rPr lang="en-US" altLang="en-US" sz="1200" smtClean="0">
                <a:effectLst/>
                <a:latin typeface="+mn-lt"/>
                <a:ea typeface="メイリオ" panose="020B0604030504040204" pitchFamily="34" charset="-128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99" name="テキスト プレースホルダ 2">
            <a:extLst>
              <a:ext uri="{FF2B5EF4-FFF2-40B4-BE49-F238E27FC236}">
                <a16:creationId xmlns:a16="http://schemas.microsoft.com/office/drawing/2014/main" id="{A239F51E-338A-4976-B8ED-D6F763A661E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563938" y="5218113"/>
            <a:ext cx="309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1E1F47E-5F99-4D38-888F-B9DB7D34E34F}" type="datetime'''''1''''''''''''''''''''''''''''''''''0''''''%'">
              <a:rPr lang="en-US" altLang="en-US" sz="1200" smtClean="0">
                <a:effectLst/>
                <a:latin typeface="+mn-lt"/>
                <a:ea typeface="メイリオ" panose="020B0604030504040204" pitchFamily="34" charset="-128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00" name="テキスト プレースホルダ 2">
            <a:extLst>
              <a:ext uri="{FF2B5EF4-FFF2-40B4-BE49-F238E27FC236}">
                <a16:creationId xmlns:a16="http://schemas.microsoft.com/office/drawing/2014/main" id="{6A3EAEB4-11F9-46B1-8A70-B481290DA61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124325" y="5349875"/>
            <a:ext cx="231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5718846-DFD4-43F6-9366-04649EA2DEBE}" type="datetime'''''''''''''2''%'''''''''''''''''''''''">
              <a:rPr lang="en-US" altLang="en-US" sz="1200" smtClean="0">
                <a:effectLst/>
                <a:latin typeface="+mn-lt"/>
                <a:ea typeface="メイリオ" panose="020B0604030504040204" pitchFamily="34" charset="-128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01" name="テキスト プレースホルダ 2">
            <a:extLst>
              <a:ext uri="{FF2B5EF4-FFF2-40B4-BE49-F238E27FC236}">
                <a16:creationId xmlns:a16="http://schemas.microsoft.com/office/drawing/2014/main" id="{04A736EE-4538-4CE7-8AF4-5586FF39AF5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064000" y="5480050"/>
            <a:ext cx="231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3377D0E-E8A0-4859-AC34-E4F595ED8FED}" type="datetime'''''''''''''3''''''''''''''''''''''''''%'''''''''''''''''''''">
              <a:rPr lang="en-US" altLang="en-US" sz="1200" smtClean="0">
                <a:effectLst/>
                <a:latin typeface="+mn-lt"/>
                <a:ea typeface="メイリオ" panose="020B0604030504040204" pitchFamily="34" charset="-128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02" name="テキスト プレースホルダ 2">
            <a:extLst>
              <a:ext uri="{FF2B5EF4-FFF2-40B4-BE49-F238E27FC236}">
                <a16:creationId xmlns:a16="http://schemas.microsoft.com/office/drawing/2014/main" id="{A7B075BF-C80F-4A57-91A1-446B9BE248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124325" y="5610225"/>
            <a:ext cx="231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B04017-0546-47B0-9681-FF413D8E997D}" type="datetime'''''''''2''''''%'''''''">
              <a:rPr lang="en-US" altLang="en-US" sz="1200" smtClean="0">
                <a:effectLst/>
                <a:latin typeface="+mn-lt"/>
                <a:ea typeface="メイリオ" panose="020B0604030504040204" pitchFamily="34" charset="-128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03" name="テキスト プレースホルダ 2">
            <a:extLst>
              <a:ext uri="{FF2B5EF4-FFF2-40B4-BE49-F238E27FC236}">
                <a16:creationId xmlns:a16="http://schemas.microsoft.com/office/drawing/2014/main" id="{E4BE1DC3-5878-4876-B6EB-6704C7F0E44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124325" y="5740400"/>
            <a:ext cx="231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4E4109E-73EA-453F-A42F-5BB2EBCF5657}" type="datetime'''''''''''''''''2%'''''''''''''''''''''''''''''''">
              <a:rPr lang="en-US" altLang="en-US" sz="1200" smtClean="0">
                <a:effectLst/>
                <a:latin typeface="+mn-lt"/>
                <a:ea typeface="メイリオ" panose="020B0604030504040204" pitchFamily="34" charset="-128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89E9A652-A41D-443F-9640-835E8C4EF97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439863" y="5280025"/>
            <a:ext cx="196850" cy="147638"/>
          </a:xfrm>
          <a:prstGeom prst="rect">
            <a:avLst/>
          </a:prstGeom>
          <a:solidFill>
            <a:srgbClr val="C30C3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B4546C41-56F1-4EA8-AF0E-E950BD3EFAE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439863" y="5499100"/>
            <a:ext cx="196850" cy="147638"/>
          </a:xfrm>
          <a:prstGeom prst="rect">
            <a:avLst/>
          </a:prstGeom>
          <a:solidFill>
            <a:srgbClr val="FF675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テキスト プレースホルダ 2">
            <a:extLst>
              <a:ext uri="{FF2B5EF4-FFF2-40B4-BE49-F238E27FC236}">
                <a16:creationId xmlns:a16="http://schemas.microsoft.com/office/drawing/2014/main" id="{3F9CE7E3-38CF-44D1-97F0-0DA782DD6FF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687513" y="5275263"/>
            <a:ext cx="565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2667DB-41F0-48B1-887D-AE765FBF525A}" type="datetime'''''R''''/''''R'''''''' ''sA''''''L''''''''''C''''''''''''''L'">
              <a:rPr lang="en-US" altLang="en-US" sz="1100" smtClean="0">
                <a:latin typeface="+mn-lt"/>
              </a:rPr>
              <a:pPr/>
              <a:t>R/R sALCL</a:t>
            </a:fld>
            <a:endParaRPr lang="zh-CN" altLang="en-US" sz="14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75" name="テキスト プレースホルダ 2">
            <a:extLst>
              <a:ext uri="{FF2B5EF4-FFF2-40B4-BE49-F238E27FC236}">
                <a16:creationId xmlns:a16="http://schemas.microsoft.com/office/drawing/2014/main" id="{2538D1CE-B79E-4960-8162-4D8F7D5531F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687514" y="5494338"/>
            <a:ext cx="4429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8B5745-E94E-4C3C-AC66-35D16486A412}" type="datetime'''''''''''''R''/''R'' c''''''''''''''''''''''''''''''''HL'''''">
              <a:rPr lang="en-US" altLang="en-US" sz="1100" smtClean="0">
                <a:latin typeface="+mn-lt"/>
              </a:rPr>
              <a:pPr/>
              <a:t>R/R cHL</a:t>
            </a:fld>
            <a:endParaRPr lang="zh-CN" altLang="en-US" sz="14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1B230E6A-44F7-4A11-8C07-84CB1F35658E}"/>
              </a:ext>
            </a:extLst>
          </p:cNvPr>
          <p:cNvSpPr txBox="1"/>
          <p:nvPr/>
        </p:nvSpPr>
        <p:spPr>
          <a:xfrm>
            <a:off x="4584020" y="4106863"/>
            <a:ext cx="180408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性粒细胞减少</a:t>
            </a:r>
          </a:p>
        </p:txBody>
      </p:sp>
      <p:sp>
        <p:nvSpPr>
          <p:cNvPr id="115" name="文本框 114">
            <a:extLst>
              <a:ext uri="{FF2B5EF4-FFF2-40B4-BE49-F238E27FC236}">
                <a16:creationId xmlns:a16="http://schemas.microsoft.com/office/drawing/2014/main" id="{7FBF5B78-D4F6-44F2-8113-EB8B432785E1}"/>
              </a:ext>
            </a:extLst>
          </p:cNvPr>
          <p:cNvSpPr txBox="1"/>
          <p:nvPr/>
        </p:nvSpPr>
        <p:spPr>
          <a:xfrm>
            <a:off x="4594225" y="4368800"/>
            <a:ext cx="180340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小板减少</a:t>
            </a:r>
          </a:p>
        </p:txBody>
      </p:sp>
      <p:sp>
        <p:nvSpPr>
          <p:cNvPr id="119" name="文本框 118">
            <a:extLst>
              <a:ext uri="{FF2B5EF4-FFF2-40B4-BE49-F238E27FC236}">
                <a16:creationId xmlns:a16="http://schemas.microsoft.com/office/drawing/2014/main" id="{107C8C29-BF50-4FDB-BF1F-BDE888C56937}"/>
              </a:ext>
            </a:extLst>
          </p:cNvPr>
          <p:cNvSpPr txBox="1"/>
          <p:nvPr/>
        </p:nvSpPr>
        <p:spPr>
          <a:xfrm>
            <a:off x="4594225" y="4654550"/>
            <a:ext cx="180340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腹泻</a:t>
            </a:r>
          </a:p>
        </p:txBody>
      </p:sp>
      <p:graphicFrame>
        <p:nvGraphicFramePr>
          <p:cNvPr id="78" name="Chart 3">
            <a:extLst>
              <a:ext uri="{FF2B5EF4-FFF2-40B4-BE49-F238E27FC236}">
                <a16:creationId xmlns:a16="http://schemas.microsoft.com/office/drawing/2014/main" id="{A973AC32-946A-445F-B37B-EB3C02920E6F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52821647"/>
              </p:ext>
            </p:extLst>
          </p:nvPr>
        </p:nvGraphicFramePr>
        <p:xfrm>
          <a:off x="7292975" y="3981450"/>
          <a:ext cx="3479800" cy="1862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09" name="テキスト プレースホルダ 2">
            <a:extLst>
              <a:ext uri="{FF2B5EF4-FFF2-40B4-BE49-F238E27FC236}">
                <a16:creationId xmlns:a16="http://schemas.microsoft.com/office/drawing/2014/main" id="{341DCD8B-329D-400F-BF87-D1788D6B0BC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651875" y="4578350"/>
            <a:ext cx="309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53B648-DC56-48DB-8CCA-6A2901544AEB}" type="datetime'''2''0''''''''%'''''''''''''''''''''''''''''''''''''''''''''''">
              <a:rPr lang="en-US" altLang="en-US" sz="1200" smtClean="0">
                <a:latin typeface="+mn-lt"/>
                <a:ea typeface="メイリオ" panose="020B0604030504040204" pitchFamily="34" charset="-128"/>
              </a:rPr>
              <a:pPr/>
              <a:t>20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54" name="テキスト プレースホルダ 2">
            <a:extLst>
              <a:ext uri="{FF2B5EF4-FFF2-40B4-BE49-F238E27FC236}">
                <a16:creationId xmlns:a16="http://schemas.microsoft.com/office/drawing/2014/main" id="{8D773D6C-4948-410C-8F03-97E4B18A915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839325" y="4335463"/>
            <a:ext cx="309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AB9EF2-73E8-4AE6-8854-052F99258819}" type="datetime'''''''''''''''''''''39''''''''''''%'''''''">
              <a:rPr lang="en-US" altLang="en-US" sz="1200" smtClean="0">
                <a:effectLst/>
                <a:latin typeface="+mn-lt"/>
                <a:ea typeface="メイリオ" panose="020B0604030504040204" pitchFamily="34" charset="-128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9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53" name="テキスト プレースホルダ 2">
            <a:extLst>
              <a:ext uri="{FF2B5EF4-FFF2-40B4-BE49-F238E27FC236}">
                <a16:creationId xmlns:a16="http://schemas.microsoft.com/office/drawing/2014/main" id="{229E9C17-7AE5-4F4D-8569-0E1A9BEAC69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715625" y="4094163"/>
            <a:ext cx="309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34FDAD-9A6F-46BA-93FC-7B62A978C737}" type="datetime'''''''''''''''''5''''''3''''''''''''%'''''''''''">
              <a:rPr lang="en-US" altLang="en-US" sz="1200" smtClean="0">
                <a:effectLst/>
                <a:latin typeface="+mn-lt"/>
                <a:ea typeface="メイリオ" panose="020B0604030504040204" pitchFamily="34" charset="-128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3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69" name="テキスト プレースホルダ 2">
            <a:extLst>
              <a:ext uri="{FF2B5EF4-FFF2-40B4-BE49-F238E27FC236}">
                <a16:creationId xmlns:a16="http://schemas.microsoft.com/office/drawing/2014/main" id="{AE338403-C941-4A35-A57E-6A3CDF87C5A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775576" y="5305425"/>
            <a:ext cx="231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1D7A80-AF57-4F71-A407-84953D0B8DA8}" type="datetime'''''''''''6''''%'''''''''''''''''''''">
              <a:rPr lang="en-US" altLang="en-US" sz="1200" smtClean="0">
                <a:latin typeface="+mn-lt"/>
                <a:ea typeface="メイリオ" panose="020B0604030504040204" pitchFamily="34" charset="-128"/>
              </a:rPr>
              <a:pPr/>
              <a:t>6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59" name="テキスト プレースホルダ 2">
            <a:extLst>
              <a:ext uri="{FF2B5EF4-FFF2-40B4-BE49-F238E27FC236}">
                <a16:creationId xmlns:a16="http://schemas.microsoft.com/office/drawing/2014/main" id="{C000024C-46C1-476E-A40B-951C928110C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339263" y="4821238"/>
            <a:ext cx="309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688AF7-39F2-453E-B8FB-2F10CB93062B}" type="datetime'''''''''''''''''''''''''''''''''''''''''''''3''1''''%'''''''">
              <a:rPr lang="en-US" altLang="en-US" sz="1200" smtClean="0">
                <a:latin typeface="+mn-lt"/>
              </a:rPr>
              <a:pPr/>
              <a:t>31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72" name="テキスト プレースホルダ 2">
            <a:extLst>
              <a:ext uri="{FF2B5EF4-FFF2-40B4-BE49-F238E27FC236}">
                <a16:creationId xmlns:a16="http://schemas.microsoft.com/office/drawing/2014/main" id="{EB956D65-74B2-4D2A-B050-764DC4E4A12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713664" y="5548313"/>
            <a:ext cx="231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AF0BCB-DBB2-46B0-8921-AE9D40E58359}" type="datetime'''''''''''''''''''''''''''''''''''''''5''''''''''%'''''''''">
              <a:rPr lang="en-US" altLang="en-US" sz="1200" smtClean="0">
                <a:latin typeface="+mn-lt"/>
                <a:ea typeface="メイリオ" panose="020B0604030504040204" pitchFamily="34" charset="-128"/>
              </a:rPr>
              <a:pPr/>
              <a:t>5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65" name="テキスト プレースホルダ 2">
            <a:extLst>
              <a:ext uri="{FF2B5EF4-FFF2-40B4-BE49-F238E27FC236}">
                <a16:creationId xmlns:a16="http://schemas.microsoft.com/office/drawing/2014/main" id="{43945048-9080-4EE1-B27F-EC5E9A9C7CB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651875" y="5064125"/>
            <a:ext cx="309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EA711C-0748-450B-8D63-A19D027C565D}" type="datetime'2''''''0''''''''''''''''''''''''''''''''''%'''''''''''">
              <a:rPr lang="en-US" altLang="en-US" sz="1200" smtClean="0">
                <a:latin typeface="+mn-lt"/>
                <a:ea typeface="メイリオ" panose="020B0604030504040204" pitchFamily="34" charset="-128"/>
              </a:rPr>
              <a:pPr/>
              <a:t>20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38" name="文本框 137">
            <a:extLst>
              <a:ext uri="{FF2B5EF4-FFF2-40B4-BE49-F238E27FC236}">
                <a16:creationId xmlns:a16="http://schemas.microsoft.com/office/drawing/2014/main" id="{8C46474D-8C2F-4B1D-8FE8-262AD89AB870}"/>
              </a:ext>
            </a:extLst>
          </p:cNvPr>
          <p:cNvSpPr txBox="1"/>
          <p:nvPr/>
        </p:nvSpPr>
        <p:spPr>
          <a:xfrm>
            <a:off x="0" y="3635375"/>
            <a:ext cx="6879770" cy="306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spc="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pPr>
            <a:r>
              <a:rPr lang="zh-CN" altLang="zh-CN" sz="1400" b="1" dirty="0">
                <a:solidFill>
                  <a:schemeClr val="tx1"/>
                </a:solidFill>
              </a:rPr>
              <a:t>维布妥昔单抗注册临床研究</a:t>
            </a:r>
            <a:r>
              <a:rPr lang="en-US" altLang="zh-CN" sz="1400" b="1" dirty="0">
                <a:solidFill>
                  <a:schemeClr val="tx1"/>
                </a:solidFill>
              </a:rPr>
              <a:t>≥3</a:t>
            </a:r>
            <a:r>
              <a:rPr lang="zh-CN" altLang="zh-CN" sz="1400" b="1" dirty="0">
                <a:solidFill>
                  <a:schemeClr val="tx1"/>
                </a:solidFill>
              </a:rPr>
              <a:t>级不良反应</a:t>
            </a:r>
            <a:r>
              <a:rPr lang="en-US" altLang="zh-CN" sz="1400" b="1" baseline="30000" dirty="0">
                <a:solidFill>
                  <a:schemeClr val="tx1"/>
                </a:solidFill>
              </a:rPr>
              <a:t>[3]</a:t>
            </a:r>
          </a:p>
        </p:txBody>
      </p:sp>
      <p:sp>
        <p:nvSpPr>
          <p:cNvPr id="156" name="文本框 155">
            <a:extLst>
              <a:ext uri="{FF2B5EF4-FFF2-40B4-BE49-F238E27FC236}">
                <a16:creationId xmlns:a16="http://schemas.microsoft.com/office/drawing/2014/main" id="{D3CB10E9-98F1-4A93-816C-6C5035E1D070}"/>
              </a:ext>
            </a:extLst>
          </p:cNvPr>
          <p:cNvSpPr txBox="1"/>
          <p:nvPr/>
        </p:nvSpPr>
        <p:spPr>
          <a:xfrm>
            <a:off x="6098042" y="4106863"/>
            <a:ext cx="180408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性粒细胞减少</a:t>
            </a:r>
          </a:p>
        </p:txBody>
      </p:sp>
      <p:sp>
        <p:nvSpPr>
          <p:cNvPr id="158" name="文本框 157">
            <a:extLst>
              <a:ext uri="{FF2B5EF4-FFF2-40B4-BE49-F238E27FC236}">
                <a16:creationId xmlns:a16="http://schemas.microsoft.com/office/drawing/2014/main" id="{FAF0B7D2-3C05-4BF0-9005-A2F745F8B6C1}"/>
              </a:ext>
            </a:extLst>
          </p:cNvPr>
          <p:cNvSpPr txBox="1"/>
          <p:nvPr/>
        </p:nvSpPr>
        <p:spPr>
          <a:xfrm>
            <a:off x="6106319" y="4356100"/>
            <a:ext cx="180408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小板减少</a:t>
            </a:r>
          </a:p>
        </p:txBody>
      </p:sp>
      <p:sp>
        <p:nvSpPr>
          <p:cNvPr id="164" name="文本框 163">
            <a:extLst>
              <a:ext uri="{FF2B5EF4-FFF2-40B4-BE49-F238E27FC236}">
                <a16:creationId xmlns:a16="http://schemas.microsoft.com/office/drawing/2014/main" id="{76EB2205-F10D-4906-9A27-939B560EDA54}"/>
              </a:ext>
            </a:extLst>
          </p:cNvPr>
          <p:cNvSpPr txBox="1"/>
          <p:nvPr/>
        </p:nvSpPr>
        <p:spPr>
          <a:xfrm>
            <a:off x="6106319" y="4899025"/>
            <a:ext cx="180408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败血症</a:t>
            </a:r>
          </a:p>
        </p:txBody>
      </p:sp>
      <p:sp>
        <p:nvSpPr>
          <p:cNvPr id="168" name="文本框 167">
            <a:extLst>
              <a:ext uri="{FF2B5EF4-FFF2-40B4-BE49-F238E27FC236}">
                <a16:creationId xmlns:a16="http://schemas.microsoft.com/office/drawing/2014/main" id="{36EE973D-E6C3-4E03-8C66-5D2B38402232}"/>
              </a:ext>
            </a:extLst>
          </p:cNvPr>
          <p:cNvSpPr txBox="1"/>
          <p:nvPr/>
        </p:nvSpPr>
        <p:spPr>
          <a:xfrm>
            <a:off x="6095835" y="5181600"/>
            <a:ext cx="180408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肌酐水平升高</a:t>
            </a:r>
          </a:p>
        </p:txBody>
      </p:sp>
      <p:sp>
        <p:nvSpPr>
          <p:cNvPr id="177" name="文本框 176">
            <a:extLst>
              <a:ext uri="{FF2B5EF4-FFF2-40B4-BE49-F238E27FC236}">
                <a16:creationId xmlns:a16="http://schemas.microsoft.com/office/drawing/2014/main" id="{605D6DFF-9F41-4EE4-8A95-636A863F8FB6}"/>
              </a:ext>
            </a:extLst>
          </p:cNvPr>
          <p:cNvSpPr txBox="1"/>
          <p:nvPr/>
        </p:nvSpPr>
        <p:spPr>
          <a:xfrm>
            <a:off x="6095835" y="5411788"/>
            <a:ext cx="180408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呼吸衰竭</a:t>
            </a:r>
          </a:p>
        </p:txBody>
      </p:sp>
      <p:sp>
        <p:nvSpPr>
          <p:cNvPr id="182" name="文本框 181">
            <a:extLst>
              <a:ext uri="{FF2B5EF4-FFF2-40B4-BE49-F238E27FC236}">
                <a16:creationId xmlns:a16="http://schemas.microsoft.com/office/drawing/2014/main" id="{6D4FE44A-8444-412E-8A98-E8F03B6A6859}"/>
              </a:ext>
            </a:extLst>
          </p:cNvPr>
          <p:cNvSpPr txBox="1"/>
          <p:nvPr/>
        </p:nvSpPr>
        <p:spPr>
          <a:xfrm>
            <a:off x="6691766" y="3633788"/>
            <a:ext cx="3662363" cy="3079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spc="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pPr>
            <a:r>
              <a:rPr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HAP</a:t>
            </a:r>
            <a:r>
              <a:rPr lang="zh-CN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≥</a:t>
            </a:r>
            <a:r>
              <a:rPr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3</a:t>
            </a:r>
            <a:r>
              <a:rPr lang="zh-CN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级不良反应发生率</a:t>
            </a:r>
            <a:r>
              <a:rPr lang="en-US" altLang="zh-CN" sz="1400" b="1" baseline="30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[4]</a:t>
            </a:r>
            <a:endParaRPr lang="zh-CN" altLang="zh-CN" sz="1400" b="1" baseline="30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86" name="矩形 185">
            <a:extLst>
              <a:ext uri="{FF2B5EF4-FFF2-40B4-BE49-F238E27FC236}">
                <a16:creationId xmlns:a16="http://schemas.microsoft.com/office/drawing/2014/main" id="{4B153439-BD41-43FC-A329-B32DCF0788CF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0061575" y="5646738"/>
            <a:ext cx="196850" cy="147638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テキスト プレースホルダ 2">
            <a:extLst>
              <a:ext uri="{FF2B5EF4-FFF2-40B4-BE49-F238E27FC236}">
                <a16:creationId xmlns:a16="http://schemas.microsoft.com/office/drawing/2014/main" id="{ED000E22-61D0-4784-98A6-2E682F1638B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309225" y="5641975"/>
            <a:ext cx="8382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C3DAC4F-3CD8-4204-A510-A76AFB0B43A1}" type="datetime'''''''''''''''复''发''''性''''''淋''''''巴''''''''瘤'''''''''''''">
              <a:rPr lang="zh-CN" altLang="en-US" sz="1100" smtClean="0">
                <a:latin typeface="+mn-lt"/>
              </a:rPr>
              <a:pPr/>
              <a:t>复发性淋巴瘤</a:t>
            </a:fld>
            <a:endParaRPr lang="zh-CN" altLang="en-US" sz="14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202" name="文本框 201">
            <a:extLst>
              <a:ext uri="{FF2B5EF4-FFF2-40B4-BE49-F238E27FC236}">
                <a16:creationId xmlns:a16="http://schemas.microsoft.com/office/drawing/2014/main" id="{A98DB75F-2E92-4103-9731-368DE326E53E}"/>
              </a:ext>
            </a:extLst>
          </p:cNvPr>
          <p:cNvSpPr txBox="1"/>
          <p:nvPr/>
        </p:nvSpPr>
        <p:spPr>
          <a:xfrm>
            <a:off x="6095835" y="5672138"/>
            <a:ext cx="180408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肿瘤溶解综合症</a:t>
            </a:r>
          </a:p>
        </p:txBody>
      </p:sp>
      <p:sp>
        <p:nvSpPr>
          <p:cNvPr id="203" name="文本框 202">
            <a:extLst>
              <a:ext uri="{FF2B5EF4-FFF2-40B4-BE49-F238E27FC236}">
                <a16:creationId xmlns:a16="http://schemas.microsoft.com/office/drawing/2014/main" id="{E90C1CB4-EB39-4F42-961F-5749659462A7}"/>
              </a:ext>
            </a:extLst>
          </p:cNvPr>
          <p:cNvSpPr txBox="1"/>
          <p:nvPr/>
        </p:nvSpPr>
        <p:spPr>
          <a:xfrm>
            <a:off x="6106319" y="4641850"/>
            <a:ext cx="180340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腹泻</a:t>
            </a:r>
          </a:p>
        </p:txBody>
      </p:sp>
      <p:sp>
        <p:nvSpPr>
          <p:cNvPr id="225" name="文本框 224">
            <a:extLst>
              <a:ext uri="{FF2B5EF4-FFF2-40B4-BE49-F238E27FC236}">
                <a16:creationId xmlns:a16="http://schemas.microsoft.com/office/drawing/2014/main" id="{04FB96B7-8087-4471-8FE1-5C7E3F806785}"/>
              </a:ext>
            </a:extLst>
          </p:cNvPr>
          <p:cNvSpPr txBox="1"/>
          <p:nvPr/>
        </p:nvSpPr>
        <p:spPr>
          <a:xfrm>
            <a:off x="4542743" y="4879975"/>
            <a:ext cx="180340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围神经病变</a:t>
            </a:r>
          </a:p>
        </p:txBody>
      </p:sp>
      <p:sp>
        <p:nvSpPr>
          <p:cNvPr id="226" name="文本框 225">
            <a:extLst>
              <a:ext uri="{FF2B5EF4-FFF2-40B4-BE49-F238E27FC236}">
                <a16:creationId xmlns:a16="http://schemas.microsoft.com/office/drawing/2014/main" id="{241E5272-031D-4990-9043-45FDA035204D}"/>
              </a:ext>
            </a:extLst>
          </p:cNvPr>
          <p:cNvSpPr txBox="1"/>
          <p:nvPr/>
        </p:nvSpPr>
        <p:spPr>
          <a:xfrm>
            <a:off x="4560495" y="5167313"/>
            <a:ext cx="542925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贫血</a:t>
            </a:r>
          </a:p>
        </p:txBody>
      </p:sp>
      <p:sp>
        <p:nvSpPr>
          <p:cNvPr id="227" name="文本框 226">
            <a:extLst>
              <a:ext uri="{FF2B5EF4-FFF2-40B4-BE49-F238E27FC236}">
                <a16:creationId xmlns:a16="http://schemas.microsoft.com/office/drawing/2014/main" id="{7AE02C3F-1CA3-4CD7-B61F-6C760E917F4E}"/>
              </a:ext>
            </a:extLst>
          </p:cNvPr>
          <p:cNvSpPr txBox="1"/>
          <p:nvPr/>
        </p:nvSpPr>
        <p:spPr>
          <a:xfrm>
            <a:off x="4561175" y="5403850"/>
            <a:ext cx="180340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疲劳</a:t>
            </a:r>
          </a:p>
        </p:txBody>
      </p:sp>
      <p:sp>
        <p:nvSpPr>
          <p:cNvPr id="228" name="文本框 227">
            <a:extLst>
              <a:ext uri="{FF2B5EF4-FFF2-40B4-BE49-F238E27FC236}">
                <a16:creationId xmlns:a16="http://schemas.microsoft.com/office/drawing/2014/main" id="{956CE078-4B58-4BDB-863D-1299017D33A4}"/>
              </a:ext>
            </a:extLst>
          </p:cNvPr>
          <p:cNvSpPr txBox="1"/>
          <p:nvPr/>
        </p:nvSpPr>
        <p:spPr>
          <a:xfrm>
            <a:off x="4560495" y="5676900"/>
            <a:ext cx="180340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热</a:t>
            </a:r>
          </a:p>
        </p:txBody>
      </p:sp>
      <p:sp>
        <p:nvSpPr>
          <p:cNvPr id="229" name="矩形 228">
            <a:extLst>
              <a:ext uri="{FF2B5EF4-FFF2-40B4-BE49-F238E27FC236}">
                <a16:creationId xmlns:a16="http://schemas.microsoft.com/office/drawing/2014/main" id="{6AD713B7-913F-437B-9C97-98CEF2072EBE}"/>
              </a:ext>
            </a:extLst>
          </p:cNvPr>
          <p:cNvSpPr/>
          <p:nvPr/>
        </p:nvSpPr>
        <p:spPr>
          <a:xfrm>
            <a:off x="1217613" y="3984625"/>
            <a:ext cx="10071100" cy="873125"/>
          </a:xfrm>
          <a:prstGeom prst="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57C84480-3C09-49BD-BBD3-6DC44E8A3096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安全性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731878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154B8A4-A190-4D39-95AE-70CE97212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98" imgH="499" progId="TCLayout.ActiveDocument.1">
                  <p:embed/>
                </p:oleObj>
              </mc:Choice>
              <mc:Fallback>
                <p:oleObj name="think-cell 幻灯片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154B8A4-A190-4D39-95AE-70CE97212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Table 4">
            <a:extLst>
              <a:ext uri="{FF2B5EF4-FFF2-40B4-BE49-F238E27FC236}">
                <a16:creationId xmlns:a16="http://schemas.microsoft.com/office/drawing/2014/main" id="{40CD0186-6C62-4DE1-916B-46AB6AD7FB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0115132"/>
              </p:ext>
            </p:extLst>
          </p:nvPr>
        </p:nvGraphicFramePr>
        <p:xfrm>
          <a:off x="527051" y="1362832"/>
          <a:ext cx="11401248" cy="35496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0312">
                  <a:extLst>
                    <a:ext uri="{9D8B030D-6E8A-4147-A177-3AD203B41FA5}">
                      <a16:colId xmlns:a16="http://schemas.microsoft.com/office/drawing/2014/main" val="4188597743"/>
                    </a:ext>
                  </a:extLst>
                </a:gridCol>
                <a:gridCol w="2850312">
                  <a:extLst>
                    <a:ext uri="{9D8B030D-6E8A-4147-A177-3AD203B41FA5}">
                      <a16:colId xmlns:a16="http://schemas.microsoft.com/office/drawing/2014/main" val="2238125395"/>
                    </a:ext>
                  </a:extLst>
                </a:gridCol>
                <a:gridCol w="2850312">
                  <a:extLst>
                    <a:ext uri="{9D8B030D-6E8A-4147-A177-3AD203B41FA5}">
                      <a16:colId xmlns:a16="http://schemas.microsoft.com/office/drawing/2014/main" val="255390584"/>
                    </a:ext>
                  </a:extLst>
                </a:gridCol>
                <a:gridCol w="2850312">
                  <a:extLst>
                    <a:ext uri="{9D8B030D-6E8A-4147-A177-3AD203B41FA5}">
                      <a16:colId xmlns:a16="http://schemas.microsoft.com/office/drawing/2014/main" val="2761263467"/>
                    </a:ext>
                  </a:extLst>
                </a:gridCol>
              </a:tblGrid>
              <a:tr h="415034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适应症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有效性数据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指南推荐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6418884"/>
                  </a:ext>
                </a:extLst>
              </a:tr>
              <a:tr h="415034">
                <a:tc vMerge="1">
                  <a:txBody>
                    <a:bodyPr/>
                    <a:lstStyle/>
                    <a:p>
                      <a:pPr algn="ctr"/>
                      <a:endParaRPr lang="zh-CN" altLang="en-US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zh-CN" altLang="en-US" sz="16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维布妥昔单抗单药</a:t>
                      </a:r>
                    </a:p>
                  </a:txBody>
                  <a:tcPr anchor="ctr">
                    <a:lnL w="381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化疗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zh-CN" altLang="en-US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南推荐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461029"/>
                  </a:ext>
                </a:extLst>
              </a:tr>
              <a:tr h="963828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复发或难治 </a:t>
                      </a:r>
                      <a:r>
                        <a:rPr lang="en-US" altLang="zh-CN" sz="160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ALCL</a:t>
                      </a:r>
                      <a:r>
                        <a:rPr lang="en-US" altLang="zh-CN" sz="1100" baseline="80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[4]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(R/R sALCL)</a:t>
                      </a:r>
                      <a:endParaRPr lang="zh-CN" altLang="en-US" sz="16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kumimoji="1" lang="en-US" altLang="zh-CN" sz="1600" b="1" i="1" kern="1200" dirty="0">
                        <a:solidFill>
                          <a:srgbClr val="C00000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kumimoji="1" lang="zh-CN" altLang="en-US" sz="1800" b="1" i="1" kern="1200" dirty="0">
                        <a:solidFill>
                          <a:srgbClr val="C00000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SCO 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指南：</a:t>
                      </a:r>
                      <a:r>
                        <a:rPr lang="en-US" altLang="zh-CN" sz="16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A</a:t>
                      </a:r>
                      <a:r>
                        <a:rPr kumimoji="1" lang="en-US" altLang="zh-CN" sz="1100" b="1" kern="1200" baseline="800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[1]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NCCN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指南</a:t>
                      </a: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:</a:t>
                      </a:r>
                      <a:r>
                        <a:rPr kumimoji="1" lang="zh-CN" altLang="en-US" sz="16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首选</a:t>
                      </a:r>
                      <a:r>
                        <a:rPr kumimoji="1" lang="en-US" altLang="zh-CN" sz="1100" b="1" kern="1200" baseline="800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[2]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ESMO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指南</a:t>
                      </a: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:</a:t>
                      </a:r>
                      <a:r>
                        <a:rPr kumimoji="1" lang="en-US" altLang="zh-CN" sz="16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A</a:t>
                      </a:r>
                      <a:r>
                        <a:rPr kumimoji="1" lang="zh-CN" altLang="en-US" sz="16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级</a:t>
                      </a:r>
                      <a:r>
                        <a:rPr kumimoji="1" lang="en-US" altLang="zh-CN" sz="1100" b="1" kern="1200" baseline="800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[3]</a:t>
                      </a:r>
                      <a:endParaRPr kumimoji="1" lang="zh-CN" altLang="en-US" sz="1100" b="1" kern="1200" baseline="800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3313197"/>
                  </a:ext>
                </a:extLst>
              </a:tr>
              <a:tr h="963828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复发或难治 </a:t>
                      </a:r>
                      <a:r>
                        <a:rPr lang="en-US" altLang="zh-CN" sz="160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HL</a:t>
                      </a:r>
                      <a:r>
                        <a:rPr kumimoji="1" lang="en-US" altLang="zh-CN" sz="1100" kern="1200" baseline="800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[5]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(R/R </a:t>
                      </a:r>
                      <a:r>
                        <a:rPr lang="en-US" altLang="zh-CN" sz="160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HL</a:t>
                      </a: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)</a:t>
                      </a:r>
                      <a:endParaRPr lang="zh-CN" altLang="en-US" sz="16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zh-CN" sz="1800" b="1" i="1" kern="1200" dirty="0">
                        <a:solidFill>
                          <a:srgbClr val="C00000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kumimoji="1" lang="en-US" altLang="zh-CN" sz="1800" b="1" i="1" kern="1200" dirty="0">
                        <a:solidFill>
                          <a:srgbClr val="C00000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SCO 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指南：</a:t>
                      </a:r>
                      <a:r>
                        <a:rPr kumimoji="1" lang="en-US" altLang="zh-CN" sz="16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II</a:t>
                      </a:r>
                      <a:r>
                        <a:rPr kumimoji="1" lang="zh-CN" altLang="en-US" sz="16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级</a:t>
                      </a:r>
                      <a:r>
                        <a:rPr kumimoji="1" lang="en-US" altLang="zh-CN" sz="1100" b="1" kern="1200" baseline="800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[1]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NCCN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指南</a:t>
                      </a: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: </a:t>
                      </a:r>
                      <a:r>
                        <a:rPr kumimoji="1" lang="en-US" altLang="zh-CN" sz="16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2A</a:t>
                      </a:r>
                      <a:r>
                        <a:rPr kumimoji="1" lang="en-US" altLang="zh-CN" sz="1100" b="1" kern="1200" baseline="800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[2]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7742162"/>
                  </a:ext>
                </a:extLst>
              </a:tr>
              <a:tr h="791926">
                <a:tc>
                  <a:txBody>
                    <a:bodyPr/>
                    <a:lstStyle/>
                    <a:p>
                      <a:pPr lvl="0"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既往接受过系统性治疗的</a:t>
                      </a:r>
                      <a:endParaRPr lang="en-US" altLang="zh-CN" sz="16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lvl="0"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60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cALCL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和</a:t>
                      </a: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MF</a:t>
                      </a:r>
                      <a:r>
                        <a:rPr kumimoji="1" lang="en-US" altLang="zh-CN" sz="1100" kern="1200" baseline="800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[6]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kumimoji="1" lang="zh-CN" altLang="en-US" sz="1800" b="1" i="1" kern="1200" dirty="0">
                        <a:solidFill>
                          <a:srgbClr val="C00000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kumimoji="1" lang="zh-CN" altLang="en-US" sz="1800" b="1" i="1" kern="1200" dirty="0">
                        <a:solidFill>
                          <a:srgbClr val="C00000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NCCN CTCL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临床指南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:</a:t>
                      </a:r>
                      <a:r>
                        <a:rPr kumimoji="1" lang="zh-CN" altLang="en-US" sz="16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首选</a:t>
                      </a:r>
                      <a:r>
                        <a:rPr kumimoji="1" lang="en-US" altLang="zh-CN" sz="1100" b="1" kern="1200" baseline="800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[2]</a:t>
                      </a:r>
                      <a:endParaRPr kumimoji="1" lang="zh-CN" altLang="en-US" sz="1100" b="1" kern="1200" baseline="800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892719"/>
                  </a:ext>
                </a:extLst>
              </a:tr>
            </a:tbl>
          </a:graphicData>
        </a:graphic>
      </p:graphicFrame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913867E5-86B9-4A9B-B191-EB31C842AC87}"/>
              </a:ext>
            </a:extLst>
          </p:cNvPr>
          <p:cNvCxnSpPr/>
          <p:nvPr/>
        </p:nvCxnSpPr>
        <p:spPr>
          <a:xfrm>
            <a:off x="7277614" y="2359747"/>
            <a:ext cx="0" cy="216423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064E7DC-EBCE-4C03-AEA5-1750479F86D2}"/>
              </a:ext>
            </a:extLst>
          </p:cNvPr>
          <p:cNvSpPr txBox="1"/>
          <p:nvPr/>
        </p:nvSpPr>
        <p:spPr>
          <a:xfrm>
            <a:off x="560272" y="6234807"/>
            <a:ext cx="51511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*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从诊断到疾病进展或死亡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483C1BC-5F97-21D9-A702-ECFDDB2FA446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50DFEDA-F4C7-4915-BF43-351C799B6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41630"/>
            <a:ext cx="11137568" cy="703942"/>
          </a:xfrm>
        </p:spPr>
        <p:txBody>
          <a:bodyPr vert="horz"/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zh-CN" altLang="en-US" sz="3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总览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：维布妥昔单抗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显著优于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现有治疗方案，极大缓解临床未满足治疗需求</a:t>
            </a:r>
            <a:endParaRPr lang="zh-CN" altLang="en-US" sz="3600" dirty="0">
              <a:ea typeface="Microsoft YaHei" panose="020B0503020204020204" pitchFamily="34" charset="-122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AEC8767C-848E-4F75-BB2D-C58C5050435D}"/>
              </a:ext>
            </a:extLst>
          </p:cNvPr>
          <p:cNvSpPr txBox="1"/>
          <p:nvPr/>
        </p:nvSpPr>
        <p:spPr>
          <a:xfrm>
            <a:off x="3602991" y="4330049"/>
            <a:ext cx="9448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位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PFS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4EA23C95-BB5D-441C-B66E-9C0B76689DDE}"/>
              </a:ext>
            </a:extLst>
          </p:cNvPr>
          <p:cNvSpPr txBox="1"/>
          <p:nvPr/>
        </p:nvSpPr>
        <p:spPr>
          <a:xfrm>
            <a:off x="3649346" y="3497226"/>
            <a:ext cx="9448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位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S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9ECC1201-E49E-4D4A-8EDB-030A34B20F28}"/>
              </a:ext>
            </a:extLst>
          </p:cNvPr>
          <p:cNvSpPr txBox="1"/>
          <p:nvPr/>
        </p:nvSpPr>
        <p:spPr>
          <a:xfrm>
            <a:off x="3596006" y="2759633"/>
            <a:ext cx="9448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位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PFS 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82B4C5E2-A49D-49F4-B79F-AA3546FE0D53}"/>
              </a:ext>
            </a:extLst>
          </p:cNvPr>
          <p:cNvSpPr txBox="1"/>
          <p:nvPr/>
        </p:nvSpPr>
        <p:spPr>
          <a:xfrm>
            <a:off x="3649346" y="2359747"/>
            <a:ext cx="9448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位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S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6C4D8164-954C-43ED-BAD6-B1FD19C4534C}"/>
              </a:ext>
            </a:extLst>
          </p:cNvPr>
          <p:cNvSpPr/>
          <p:nvPr/>
        </p:nvSpPr>
        <p:spPr>
          <a:xfrm>
            <a:off x="4716509" y="2383128"/>
            <a:ext cx="1303338" cy="25731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814649F6-5B61-4D4B-A9B3-A5D5295FFB59}"/>
              </a:ext>
            </a:extLst>
          </p:cNvPr>
          <p:cNvSpPr/>
          <p:nvPr/>
        </p:nvSpPr>
        <p:spPr>
          <a:xfrm>
            <a:off x="4716509" y="2763354"/>
            <a:ext cx="426040" cy="25731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7" name="文本框 116">
            <a:extLst>
              <a:ext uri="{FF2B5EF4-FFF2-40B4-BE49-F238E27FC236}">
                <a16:creationId xmlns:a16="http://schemas.microsoft.com/office/drawing/2014/main" id="{24049A82-6E26-4DD1-9BE4-B890B1E2E9C0}"/>
              </a:ext>
            </a:extLst>
          </p:cNvPr>
          <p:cNvSpPr txBox="1"/>
          <p:nvPr/>
        </p:nvSpPr>
        <p:spPr>
          <a:xfrm>
            <a:off x="4624013" y="2756806"/>
            <a:ext cx="79135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20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个月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8" name="矩形 117">
            <a:extLst>
              <a:ext uri="{FF2B5EF4-FFF2-40B4-BE49-F238E27FC236}">
                <a16:creationId xmlns:a16="http://schemas.microsoft.com/office/drawing/2014/main" id="{83D0E1E5-0735-4FD5-9876-0AE81704F63B}"/>
              </a:ext>
            </a:extLst>
          </p:cNvPr>
          <p:cNvSpPr/>
          <p:nvPr/>
        </p:nvSpPr>
        <p:spPr>
          <a:xfrm>
            <a:off x="4716509" y="3532081"/>
            <a:ext cx="994928" cy="25731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9" name="文本框 118">
            <a:extLst>
              <a:ext uri="{FF2B5EF4-FFF2-40B4-BE49-F238E27FC236}">
                <a16:creationId xmlns:a16="http://schemas.microsoft.com/office/drawing/2014/main" id="{CCA79C99-173C-4922-8DF3-05424D87CDE0}"/>
              </a:ext>
            </a:extLst>
          </p:cNvPr>
          <p:cNvSpPr txBox="1"/>
          <p:nvPr/>
        </p:nvSpPr>
        <p:spPr>
          <a:xfrm>
            <a:off x="4960662" y="3537627"/>
            <a:ext cx="73094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40.5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个月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0" name="矩形 119">
            <a:extLst>
              <a:ext uri="{FF2B5EF4-FFF2-40B4-BE49-F238E27FC236}">
                <a16:creationId xmlns:a16="http://schemas.microsoft.com/office/drawing/2014/main" id="{9F35456D-3B47-4404-A5F3-CFF069B572C1}"/>
              </a:ext>
            </a:extLst>
          </p:cNvPr>
          <p:cNvSpPr/>
          <p:nvPr/>
        </p:nvSpPr>
        <p:spPr>
          <a:xfrm>
            <a:off x="4716509" y="4314064"/>
            <a:ext cx="1303338" cy="23329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1" name="文本框 120">
            <a:extLst>
              <a:ext uri="{FF2B5EF4-FFF2-40B4-BE49-F238E27FC236}">
                <a16:creationId xmlns:a16="http://schemas.microsoft.com/office/drawing/2014/main" id="{BACBAA15-8F2E-4053-B7E4-3B707E46F7E8}"/>
              </a:ext>
            </a:extLst>
          </p:cNvPr>
          <p:cNvSpPr txBox="1"/>
          <p:nvPr/>
        </p:nvSpPr>
        <p:spPr>
          <a:xfrm>
            <a:off x="5119246" y="4304886"/>
            <a:ext cx="79135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58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个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*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4" name="矩形 123">
            <a:extLst>
              <a:ext uri="{FF2B5EF4-FFF2-40B4-BE49-F238E27FC236}">
                <a16:creationId xmlns:a16="http://schemas.microsoft.com/office/drawing/2014/main" id="{2BBB6AAE-07C1-41D6-99D0-0F2F804BAEBB}"/>
              </a:ext>
            </a:extLst>
          </p:cNvPr>
          <p:cNvSpPr/>
          <p:nvPr/>
        </p:nvSpPr>
        <p:spPr>
          <a:xfrm>
            <a:off x="7277614" y="2383614"/>
            <a:ext cx="139505" cy="25682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5" name="文本框 124">
            <a:extLst>
              <a:ext uri="{FF2B5EF4-FFF2-40B4-BE49-F238E27FC236}">
                <a16:creationId xmlns:a16="http://schemas.microsoft.com/office/drawing/2014/main" id="{A6743B24-4B78-4CD3-B265-E8D501652D8E}"/>
              </a:ext>
            </a:extLst>
          </p:cNvPr>
          <p:cNvSpPr txBox="1"/>
          <p:nvPr/>
        </p:nvSpPr>
        <p:spPr>
          <a:xfrm>
            <a:off x="7417119" y="2375171"/>
            <a:ext cx="79135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个月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6" name="矩形 125">
            <a:extLst>
              <a:ext uri="{FF2B5EF4-FFF2-40B4-BE49-F238E27FC236}">
                <a16:creationId xmlns:a16="http://schemas.microsoft.com/office/drawing/2014/main" id="{7EF40FA4-E516-43A9-8830-7FA4AE1D1245}"/>
              </a:ext>
            </a:extLst>
          </p:cNvPr>
          <p:cNvSpPr/>
          <p:nvPr/>
        </p:nvSpPr>
        <p:spPr>
          <a:xfrm>
            <a:off x="7277614" y="2727050"/>
            <a:ext cx="45719" cy="25682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7" name="文本框 126">
            <a:extLst>
              <a:ext uri="{FF2B5EF4-FFF2-40B4-BE49-F238E27FC236}">
                <a16:creationId xmlns:a16="http://schemas.microsoft.com/office/drawing/2014/main" id="{BBA010FB-F7A6-42BF-B03F-1F04F99930F6}"/>
              </a:ext>
            </a:extLst>
          </p:cNvPr>
          <p:cNvSpPr txBox="1"/>
          <p:nvPr/>
        </p:nvSpPr>
        <p:spPr>
          <a:xfrm>
            <a:off x="7330170" y="2700202"/>
            <a:ext cx="79135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.8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个月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8" name="矩形 127">
            <a:extLst>
              <a:ext uri="{FF2B5EF4-FFF2-40B4-BE49-F238E27FC236}">
                <a16:creationId xmlns:a16="http://schemas.microsoft.com/office/drawing/2014/main" id="{CE607BA4-55C2-4D6D-AF01-9A0BD80E87DD}"/>
              </a:ext>
            </a:extLst>
          </p:cNvPr>
          <p:cNvSpPr/>
          <p:nvPr/>
        </p:nvSpPr>
        <p:spPr>
          <a:xfrm>
            <a:off x="7277614" y="3540523"/>
            <a:ext cx="473431" cy="2753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9" name="文本框 128">
            <a:extLst>
              <a:ext uri="{FF2B5EF4-FFF2-40B4-BE49-F238E27FC236}">
                <a16:creationId xmlns:a16="http://schemas.microsoft.com/office/drawing/2014/main" id="{53973391-94BF-463E-9DC0-FED2CB3468AD}"/>
              </a:ext>
            </a:extLst>
          </p:cNvPr>
          <p:cNvSpPr txBox="1"/>
          <p:nvPr/>
        </p:nvSpPr>
        <p:spPr>
          <a:xfrm>
            <a:off x="7716523" y="3547374"/>
            <a:ext cx="79135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9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个月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30" name="矩形 129">
            <a:extLst>
              <a:ext uri="{FF2B5EF4-FFF2-40B4-BE49-F238E27FC236}">
                <a16:creationId xmlns:a16="http://schemas.microsoft.com/office/drawing/2014/main" id="{89AA0DC2-EC1D-44A2-AC8D-10BDDC5CE0AA}"/>
              </a:ext>
            </a:extLst>
          </p:cNvPr>
          <p:cNvSpPr/>
          <p:nvPr/>
        </p:nvSpPr>
        <p:spPr>
          <a:xfrm>
            <a:off x="7277614" y="4296731"/>
            <a:ext cx="139505" cy="25682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31" name="文本框 130">
            <a:extLst>
              <a:ext uri="{FF2B5EF4-FFF2-40B4-BE49-F238E27FC236}">
                <a16:creationId xmlns:a16="http://schemas.microsoft.com/office/drawing/2014/main" id="{662FEF12-E98F-43D4-B930-19E9ABCFCDEB}"/>
              </a:ext>
            </a:extLst>
          </p:cNvPr>
          <p:cNvSpPr txBox="1"/>
          <p:nvPr/>
        </p:nvSpPr>
        <p:spPr>
          <a:xfrm>
            <a:off x="7431236" y="4288288"/>
            <a:ext cx="79135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4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个月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5CC0B1FA-D2CE-4C13-BE80-791457654765}"/>
              </a:ext>
            </a:extLst>
          </p:cNvPr>
          <p:cNvCxnSpPr/>
          <p:nvPr/>
        </p:nvCxnSpPr>
        <p:spPr>
          <a:xfrm>
            <a:off x="4716509" y="2383128"/>
            <a:ext cx="0" cy="216423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矩形 30">
            <a:extLst>
              <a:ext uri="{FF2B5EF4-FFF2-40B4-BE49-F238E27FC236}">
                <a16:creationId xmlns:a16="http://schemas.microsoft.com/office/drawing/2014/main" id="{C846DA42-1611-4BB6-BFCD-D3A478514673}"/>
              </a:ext>
            </a:extLst>
          </p:cNvPr>
          <p:cNvSpPr/>
          <p:nvPr/>
        </p:nvSpPr>
        <p:spPr>
          <a:xfrm>
            <a:off x="6019995" y="2383128"/>
            <a:ext cx="569789" cy="253653"/>
          </a:xfrm>
          <a:prstGeom prst="rect">
            <a:avLst/>
          </a:prstGeom>
          <a:solidFill>
            <a:srgbClr val="C00000">
              <a:alpha val="33000"/>
            </a:srgbClr>
          </a:solidFill>
          <a:ln w="952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9" name="文本框 88">
            <a:extLst>
              <a:ext uri="{FF2B5EF4-FFF2-40B4-BE49-F238E27FC236}">
                <a16:creationId xmlns:a16="http://schemas.microsoft.com/office/drawing/2014/main" id="{7EBDA2FB-AAB7-4470-BEE1-9161F47F88FD}"/>
              </a:ext>
            </a:extLst>
          </p:cNvPr>
          <p:cNvSpPr txBox="1"/>
          <p:nvPr/>
        </p:nvSpPr>
        <p:spPr>
          <a:xfrm>
            <a:off x="5368178" y="2402838"/>
            <a:ext cx="139028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5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年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S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大于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60%</a:t>
            </a:r>
            <a:endParaRPr kumimoji="0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5FA365D2-0E08-4B37-8BEC-7750FEB6F5B9}"/>
              </a:ext>
            </a:extLst>
          </p:cNvPr>
          <p:cNvSpPr/>
          <p:nvPr/>
        </p:nvSpPr>
        <p:spPr>
          <a:xfrm>
            <a:off x="599513" y="4990779"/>
            <a:ext cx="10991748" cy="12354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38" name="图片 8">
            <a:extLst>
              <a:ext uri="{FF2B5EF4-FFF2-40B4-BE49-F238E27FC236}">
                <a16:creationId xmlns:a16="http://schemas.microsoft.com/office/drawing/2014/main" id="{B62CB04F-0169-4DC5-9628-22F75CBFE6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765" y="5066374"/>
            <a:ext cx="2778477" cy="417230"/>
          </a:xfrm>
          <a:prstGeom prst="rect">
            <a:avLst/>
          </a:prstGeom>
        </p:spPr>
      </p:pic>
      <p:sp>
        <p:nvSpPr>
          <p:cNvPr id="39" name="TextBox 32">
            <a:extLst>
              <a:ext uri="{FF2B5EF4-FFF2-40B4-BE49-F238E27FC236}">
                <a16:creationId xmlns:a16="http://schemas.microsoft.com/office/drawing/2014/main" id="{D6B3115F-BFC7-4C30-8D57-2E9B7A18BA2B}"/>
              </a:ext>
            </a:extLst>
          </p:cNvPr>
          <p:cNvSpPr txBox="1"/>
          <p:nvPr/>
        </p:nvSpPr>
        <p:spPr>
          <a:xfrm>
            <a:off x="3377493" y="5115359"/>
            <a:ext cx="8327342" cy="1104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维布妥昔单抗在境外已经成为推荐二线治疗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，依据本品在境外开展的单臂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II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期关键研究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SG035-0003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SG035-0004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）。中国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C25010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研究的有效性与全球人群疗效获益趋势一致，提示在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国人群将有同样的临床获益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。通过与全球人群、日本人群基线特征以及亚组分析结果对比分析。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审评认可维布妥昔单抗治疗中国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R/R HL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和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R/R sALCL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患者的有效性 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D35A4632-2B4B-4B1F-B8C3-F21CE8DFAE7D}"/>
              </a:ext>
            </a:extLst>
          </p:cNvPr>
          <p:cNvSpPr txBox="1"/>
          <p:nvPr/>
        </p:nvSpPr>
        <p:spPr>
          <a:xfrm>
            <a:off x="362474" y="5492145"/>
            <a:ext cx="2778478" cy="7383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注射用维布妥昔单抗（</a:t>
            </a:r>
            <a:r>
              <a:rPr kumimoji="0" lang="en-US" altLang="zh-CN" sz="12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JXSS1900015)</a:t>
            </a:r>
            <a:r>
              <a:rPr kumimoji="0" lang="zh-CN" alt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申请上市技术评审报告</a:t>
            </a:r>
            <a:endParaRPr kumimoji="0" lang="en-US" altLang="zh-CN" sz="1200" b="1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5" name="Rectangle 7">
            <a:extLst>
              <a:ext uri="{FF2B5EF4-FFF2-40B4-BE49-F238E27FC236}">
                <a16:creationId xmlns:a16="http://schemas.microsoft.com/office/drawing/2014/main" id="{95366970-EABF-491A-8CC6-DFF8E6FE4438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有效性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AB50792-C75F-D76A-5AFD-8B09EC3A77D5}"/>
              </a:ext>
            </a:extLst>
          </p:cNvPr>
          <p:cNvSpPr txBox="1"/>
          <p:nvPr/>
        </p:nvSpPr>
        <p:spPr>
          <a:xfrm>
            <a:off x="260235" y="6501129"/>
            <a:ext cx="940085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[1]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国临床肿瘤协会（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CSCO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）淋巴瘤诊疗指南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2022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版； 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[2] NCCN Clinical Practice Guidelines in Oncology ( NCCN Guidelines®) for T-Cell Lymphomas, v2.2022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；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[3]</a:t>
            </a:r>
            <a:r>
              <a:rPr lang="en-US" altLang="zh-CN" sz="7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F. d Amore, et 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al. Ann Oncol. 2015 ;26(Supplement_5):</a:t>
            </a:r>
            <a:r>
              <a:rPr lang="en-US" altLang="zh-CN" sz="7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v108-v115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[4] Pro B, et </a:t>
            </a:r>
            <a:r>
              <a:rPr lang="en-US" altLang="zh-CN" sz="7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l.Blood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. 2017 Dec 21;130(25):2709-2717</a:t>
            </a:r>
            <a:r>
              <a:rPr lang="zh-CN" altLang="en-US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；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[5] Robert C ,et al. Blood, 2016;128(12):1562-6; [6]</a:t>
            </a:r>
            <a:r>
              <a:rPr lang="zh-CN" altLang="en-US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7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adelleine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7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uvic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et al. J Clin Oncol, 2015;33:3759-3765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.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53696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1111272-F6A2-4E77-BFAA-14DDE724B0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739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98" imgH="499" progId="TCLayout.ActiveDocument.1">
                  <p:embed/>
                </p:oleObj>
              </mc:Choice>
              <mc:Fallback>
                <p:oleObj name="think-cell 幻灯片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1111272-F6A2-4E77-BFAA-14DDE724B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文本框 70">
            <a:extLst>
              <a:ext uri="{FF2B5EF4-FFF2-40B4-BE49-F238E27FC236}">
                <a16:creationId xmlns:a16="http://schemas.microsoft.com/office/drawing/2014/main" id="{FDD6D0A4-781E-472A-982F-23F1DC21734D}"/>
              </a:ext>
            </a:extLst>
          </p:cNvPr>
          <p:cNvSpPr txBox="1"/>
          <p:nvPr/>
        </p:nvSpPr>
        <p:spPr>
          <a:xfrm>
            <a:off x="559594" y="6567608"/>
            <a:ext cx="9211727" cy="276999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1] Pro B, et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al.Blood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. 2017 Dec 21;130(25):2709-2717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2]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注射用维布妥昔单抗（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JXSS1900015)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申请上市技术评审报告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3]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Zinzani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 PL, 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et a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.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Crit Rev Oncol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Hemato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. 2015 Sep;95(3):359-69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4] 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中国临床肿瘤协会（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CSCO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）淋巴瘤诊疗指南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2022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版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5] NCCN Clinical Practice Guidelines in Oncology ( NCCN Guidelines®) for T-Cell Lymphomas, v2.2022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6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] F. d Amore, et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al. Ann Oncol. 2015 ;26(Supplement_5):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v108-v115</a:t>
            </a:r>
            <a:endParaRPr kumimoji="0" lang="en-US" altLang="zh-CN" sz="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45A84EB6-B6EA-A853-7549-DF25BBD0962A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9B0A94C7-65D8-4FC5-89AA-EFB92EA3C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14991"/>
            <a:ext cx="11137568" cy="703942"/>
          </a:xfrm>
        </p:spPr>
        <p:txBody>
          <a:bodyPr vert="horz"/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维布妥昔单抗治疗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R/R sALCL</a:t>
            </a:r>
            <a:r>
              <a:rPr kumimoji="0" lang="zh-CN" altLang="en-US" sz="3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RR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高达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86%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，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5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年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S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率达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60%——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达到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潜在临床治愈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，国内外权威指南均为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最高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级别推荐</a:t>
            </a:r>
            <a:endParaRPr lang="zh-CN" altLang="en-US" sz="3600" dirty="0">
              <a:ea typeface="Microsoft YaHei" panose="020B0503020204020204" pitchFamily="34" charset="-122"/>
            </a:endParaRPr>
          </a:p>
        </p:txBody>
      </p:sp>
      <p:sp>
        <p:nvSpPr>
          <p:cNvPr id="137" name="矩形: 圆角 38">
            <a:extLst>
              <a:ext uri="{FF2B5EF4-FFF2-40B4-BE49-F238E27FC236}">
                <a16:creationId xmlns:a16="http://schemas.microsoft.com/office/drawing/2014/main" id="{38BE4898-AC71-41F1-890A-45F0D32FE0FA}"/>
              </a:ext>
            </a:extLst>
          </p:cNvPr>
          <p:cNvSpPr/>
          <p:nvPr/>
        </p:nvSpPr>
        <p:spPr>
          <a:xfrm>
            <a:off x="533401" y="1723233"/>
            <a:ext cx="6352766" cy="480683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zh-CN" altLang="en-US" sz="1200" kern="1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38" name="矩形 1">
            <a:extLst>
              <a:ext uri="{FF2B5EF4-FFF2-40B4-BE49-F238E27FC236}">
                <a16:creationId xmlns:a16="http://schemas.microsoft.com/office/drawing/2014/main" id="{8200873E-BA22-4C4C-A0D3-2F7B7436223C}"/>
              </a:ext>
            </a:extLst>
          </p:cNvPr>
          <p:cNvSpPr/>
          <p:nvPr/>
        </p:nvSpPr>
        <p:spPr>
          <a:xfrm>
            <a:off x="533401" y="1723233"/>
            <a:ext cx="6352766" cy="456576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6525" lvl="0" algn="ctr">
              <a:lnSpc>
                <a:spcPct val="120000"/>
              </a:lnSpc>
            </a:pPr>
            <a:r>
              <a:rPr lang="zh-CN" altLang="en-US" sz="12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维布妥昔单抗拥有迄今全球</a:t>
            </a:r>
            <a:r>
              <a:rPr lang="en-US" altLang="zh-CN" sz="12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/R sALCL</a:t>
            </a:r>
            <a:r>
              <a:rPr lang="zh-CN" altLang="en-US" sz="12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的最大样本，前瞻性多中心研究</a:t>
            </a:r>
            <a:r>
              <a:rPr lang="zh-CN" altLang="en-US" sz="11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endParaRPr lang="en-US" altLang="zh-CN" sz="11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36525" lvl="0" algn="ctr">
              <a:lnSpc>
                <a:spcPct val="120000"/>
              </a:lnSpc>
            </a:pPr>
            <a:r>
              <a:rPr lang="en-US" altLang="zh-CN" sz="12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</a:t>
            </a:r>
            <a:r>
              <a:rPr lang="zh-CN" altLang="en-US" sz="12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随访结果（中位治疗</a:t>
            </a:r>
            <a:r>
              <a:rPr lang="en-US" altLang="zh-CN" sz="12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7</a:t>
            </a:r>
            <a:r>
              <a:rPr lang="zh-CN" altLang="en-US" sz="12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个周期）</a:t>
            </a:r>
            <a:r>
              <a:rPr lang="en-US" altLang="zh-CN" sz="1200" b="1" baseline="30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[1] </a:t>
            </a:r>
            <a:endParaRPr lang="zh-CN" altLang="en-US" sz="1200" b="1" baseline="30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9" name="矩形 1">
            <a:extLst>
              <a:ext uri="{FF2B5EF4-FFF2-40B4-BE49-F238E27FC236}">
                <a16:creationId xmlns:a16="http://schemas.microsoft.com/office/drawing/2014/main" id="{DC83F45A-7590-4B45-A09A-0466080834D5}"/>
              </a:ext>
            </a:extLst>
          </p:cNvPr>
          <p:cNvSpPr/>
          <p:nvPr/>
        </p:nvSpPr>
        <p:spPr>
          <a:xfrm>
            <a:off x="559594" y="5019211"/>
            <a:ext cx="6335304" cy="389568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Microsoft YaHei" panose="020B0503020204020204" pitchFamily="34" charset="-122"/>
            </a:endParaRPr>
          </a:p>
        </p:txBody>
      </p:sp>
      <p:sp>
        <p:nvSpPr>
          <p:cNvPr id="141" name="文本框 40">
            <a:extLst>
              <a:ext uri="{FF2B5EF4-FFF2-40B4-BE49-F238E27FC236}">
                <a16:creationId xmlns:a16="http://schemas.microsoft.com/office/drawing/2014/main" id="{B8315485-4851-45C5-A1AC-9EAC806D5900}"/>
              </a:ext>
            </a:extLst>
          </p:cNvPr>
          <p:cNvSpPr txBox="1"/>
          <p:nvPr/>
        </p:nvSpPr>
        <p:spPr>
          <a:xfrm>
            <a:off x="571500" y="5453611"/>
            <a:ext cx="619942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中国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II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期临床研究的有效性与全球疗效获益趋势一致，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56%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患者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完全缓解，且中位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4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周期（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1.9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周）的治疗即达到完全缓解。中位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F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中位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别随访了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2.4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月和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4.3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月均未达到</a:t>
            </a:r>
            <a:r>
              <a:rPr kumimoji="1" lang="en-US" altLang="zh-CN" sz="1200" b="0" i="0" kern="100" baseline="30000" noProof="0" dirty="0">
                <a:solidFill>
                  <a:schemeClr val="dk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[2]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一项国际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WE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荟萃分析研究显示，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74%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患者达到完全缓解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且在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-4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治疗周期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观察到缓解</a:t>
            </a:r>
            <a:r>
              <a:rPr kumimoji="1" lang="en-US" altLang="zh-CN" sz="1200" b="0" i="0" kern="100" baseline="30000" noProof="0" dirty="0">
                <a:solidFill>
                  <a:schemeClr val="dk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[3]</a:t>
            </a:r>
            <a:endParaRPr lang="en-US" altLang="zh-CN" sz="1200" baseline="30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3" name="文本框 41">
            <a:extLst>
              <a:ext uri="{FF2B5EF4-FFF2-40B4-BE49-F238E27FC236}">
                <a16:creationId xmlns:a16="http://schemas.microsoft.com/office/drawing/2014/main" id="{E12737B2-1086-47A2-8AFD-EF55BA14C975}"/>
              </a:ext>
            </a:extLst>
          </p:cNvPr>
          <p:cNvSpPr txBox="1"/>
          <p:nvPr/>
        </p:nvSpPr>
        <p:spPr>
          <a:xfrm>
            <a:off x="1050094" y="5029320"/>
            <a:ext cx="5281896" cy="3289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中国临床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研究和真实世界数据</a:t>
            </a:r>
            <a:r>
              <a:rPr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也验证了维布妥昔单抗的卓越疗效</a:t>
            </a:r>
            <a:endParaRPr lang="en-US" altLang="zh-CN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76" name="圆角矩形 27">
            <a:extLst>
              <a:ext uri="{FF2B5EF4-FFF2-40B4-BE49-F238E27FC236}">
                <a16:creationId xmlns:a16="http://schemas.microsoft.com/office/drawing/2014/main" id="{7D7F74BC-A715-47E4-B68F-93D82E646DA0}"/>
              </a:ext>
            </a:extLst>
          </p:cNvPr>
          <p:cNvSpPr/>
          <p:nvPr/>
        </p:nvSpPr>
        <p:spPr>
          <a:xfrm>
            <a:off x="1470680" y="3454734"/>
            <a:ext cx="1722676" cy="191357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8" lvl="0" algn="ctr"/>
            <a:r>
              <a:rPr lang="en-US" altLang="zh-CN" sz="1200" b="1" kern="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OS: </a:t>
            </a:r>
            <a:r>
              <a:rPr lang="zh-CN" altLang="en-US" sz="1200" b="1" kern="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全人群</a:t>
            </a:r>
          </a:p>
        </p:txBody>
      </p:sp>
      <p:sp>
        <p:nvSpPr>
          <p:cNvPr id="177" name="圆角矩形 28">
            <a:extLst>
              <a:ext uri="{FF2B5EF4-FFF2-40B4-BE49-F238E27FC236}">
                <a16:creationId xmlns:a16="http://schemas.microsoft.com/office/drawing/2014/main" id="{F3A8DC42-61CA-4A8E-B6D8-81CB84D73B09}"/>
              </a:ext>
            </a:extLst>
          </p:cNvPr>
          <p:cNvSpPr/>
          <p:nvPr/>
        </p:nvSpPr>
        <p:spPr>
          <a:xfrm>
            <a:off x="4512600" y="3454734"/>
            <a:ext cx="1722676" cy="191357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8" lvl="0" algn="ctr"/>
            <a:r>
              <a:rPr lang="en-US" altLang="zh-CN" sz="1200" b="1" kern="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PFS: </a:t>
            </a:r>
            <a:r>
              <a:rPr lang="zh-CN" altLang="en-US" sz="1200" b="1" kern="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全人群</a:t>
            </a:r>
          </a:p>
        </p:txBody>
      </p:sp>
      <p:sp>
        <p:nvSpPr>
          <p:cNvPr id="216" name="object 140">
            <a:extLst>
              <a:ext uri="{FF2B5EF4-FFF2-40B4-BE49-F238E27FC236}">
                <a16:creationId xmlns:a16="http://schemas.microsoft.com/office/drawing/2014/main" id="{0F80F6C5-1639-416C-9E61-45E6E3E9E770}"/>
              </a:ext>
            </a:extLst>
          </p:cNvPr>
          <p:cNvSpPr/>
          <p:nvPr/>
        </p:nvSpPr>
        <p:spPr>
          <a:xfrm>
            <a:off x="876861" y="3728795"/>
            <a:ext cx="29643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7" name="object 141">
            <a:extLst>
              <a:ext uri="{FF2B5EF4-FFF2-40B4-BE49-F238E27FC236}">
                <a16:creationId xmlns:a16="http://schemas.microsoft.com/office/drawing/2014/main" id="{29375DA0-ECD1-4F2D-A437-6724010833B9}"/>
              </a:ext>
            </a:extLst>
          </p:cNvPr>
          <p:cNvSpPr/>
          <p:nvPr/>
        </p:nvSpPr>
        <p:spPr>
          <a:xfrm>
            <a:off x="876861" y="3591759"/>
            <a:ext cx="29643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8" name="object 142">
            <a:extLst>
              <a:ext uri="{FF2B5EF4-FFF2-40B4-BE49-F238E27FC236}">
                <a16:creationId xmlns:a16="http://schemas.microsoft.com/office/drawing/2014/main" id="{5A79C374-3DEB-4396-8E0F-913E754DFB28}"/>
              </a:ext>
            </a:extLst>
          </p:cNvPr>
          <p:cNvSpPr/>
          <p:nvPr/>
        </p:nvSpPr>
        <p:spPr>
          <a:xfrm>
            <a:off x="876861" y="3454734"/>
            <a:ext cx="29643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9" name="object 143">
            <a:extLst>
              <a:ext uri="{FF2B5EF4-FFF2-40B4-BE49-F238E27FC236}">
                <a16:creationId xmlns:a16="http://schemas.microsoft.com/office/drawing/2014/main" id="{8073AC38-239D-4DA9-AC11-6FFC0106EBDC}"/>
              </a:ext>
            </a:extLst>
          </p:cNvPr>
          <p:cNvSpPr/>
          <p:nvPr/>
        </p:nvSpPr>
        <p:spPr>
          <a:xfrm>
            <a:off x="876861" y="3317709"/>
            <a:ext cx="29643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0" name="object 144">
            <a:extLst>
              <a:ext uri="{FF2B5EF4-FFF2-40B4-BE49-F238E27FC236}">
                <a16:creationId xmlns:a16="http://schemas.microsoft.com/office/drawing/2014/main" id="{56377C8B-8079-4828-8873-2E258D6D226D}"/>
              </a:ext>
            </a:extLst>
          </p:cNvPr>
          <p:cNvSpPr/>
          <p:nvPr/>
        </p:nvSpPr>
        <p:spPr>
          <a:xfrm>
            <a:off x="876861" y="3180673"/>
            <a:ext cx="29643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1" name="object 145">
            <a:extLst>
              <a:ext uri="{FF2B5EF4-FFF2-40B4-BE49-F238E27FC236}">
                <a16:creationId xmlns:a16="http://schemas.microsoft.com/office/drawing/2014/main" id="{FBCD15FC-CAFD-426E-AE71-FDF380F52BE8}"/>
              </a:ext>
            </a:extLst>
          </p:cNvPr>
          <p:cNvSpPr/>
          <p:nvPr/>
        </p:nvSpPr>
        <p:spPr>
          <a:xfrm>
            <a:off x="876861" y="3043637"/>
            <a:ext cx="29643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2" name="object 146">
            <a:extLst>
              <a:ext uri="{FF2B5EF4-FFF2-40B4-BE49-F238E27FC236}">
                <a16:creationId xmlns:a16="http://schemas.microsoft.com/office/drawing/2014/main" id="{DBFAC230-5B84-4955-9F06-96ECB5D160B1}"/>
              </a:ext>
            </a:extLst>
          </p:cNvPr>
          <p:cNvSpPr/>
          <p:nvPr/>
        </p:nvSpPr>
        <p:spPr>
          <a:xfrm>
            <a:off x="876861" y="2906612"/>
            <a:ext cx="29643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3" name="object 147">
            <a:extLst>
              <a:ext uri="{FF2B5EF4-FFF2-40B4-BE49-F238E27FC236}">
                <a16:creationId xmlns:a16="http://schemas.microsoft.com/office/drawing/2014/main" id="{55A44C9A-22CC-4AC3-9ADF-693B6B5C9A3F}"/>
              </a:ext>
            </a:extLst>
          </p:cNvPr>
          <p:cNvSpPr/>
          <p:nvPr/>
        </p:nvSpPr>
        <p:spPr>
          <a:xfrm>
            <a:off x="876861" y="2769587"/>
            <a:ext cx="29643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4" name="object 148">
            <a:extLst>
              <a:ext uri="{FF2B5EF4-FFF2-40B4-BE49-F238E27FC236}">
                <a16:creationId xmlns:a16="http://schemas.microsoft.com/office/drawing/2014/main" id="{97274EDE-55DB-449A-9215-AD6A340AFB7D}"/>
              </a:ext>
            </a:extLst>
          </p:cNvPr>
          <p:cNvSpPr/>
          <p:nvPr/>
        </p:nvSpPr>
        <p:spPr>
          <a:xfrm>
            <a:off x="876861" y="2632563"/>
            <a:ext cx="29643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5" name="object 149">
            <a:extLst>
              <a:ext uri="{FF2B5EF4-FFF2-40B4-BE49-F238E27FC236}">
                <a16:creationId xmlns:a16="http://schemas.microsoft.com/office/drawing/2014/main" id="{34F2FA8B-E928-4C08-86A3-5C382C59B404}"/>
              </a:ext>
            </a:extLst>
          </p:cNvPr>
          <p:cNvSpPr/>
          <p:nvPr/>
        </p:nvSpPr>
        <p:spPr>
          <a:xfrm>
            <a:off x="876861" y="2495537"/>
            <a:ext cx="29643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6" name="object 150">
            <a:extLst>
              <a:ext uri="{FF2B5EF4-FFF2-40B4-BE49-F238E27FC236}">
                <a16:creationId xmlns:a16="http://schemas.microsoft.com/office/drawing/2014/main" id="{51DAE97C-4B64-493E-A4D0-8850329ACF71}"/>
              </a:ext>
            </a:extLst>
          </p:cNvPr>
          <p:cNvSpPr/>
          <p:nvPr/>
        </p:nvSpPr>
        <p:spPr>
          <a:xfrm>
            <a:off x="876861" y="2358513"/>
            <a:ext cx="29643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7" name="object 151">
            <a:extLst>
              <a:ext uri="{FF2B5EF4-FFF2-40B4-BE49-F238E27FC236}">
                <a16:creationId xmlns:a16="http://schemas.microsoft.com/office/drawing/2014/main" id="{DF77C06D-FFAB-4E0E-B9CB-6D9570E6AFCB}"/>
              </a:ext>
            </a:extLst>
          </p:cNvPr>
          <p:cNvSpPr/>
          <p:nvPr/>
        </p:nvSpPr>
        <p:spPr>
          <a:xfrm>
            <a:off x="951499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8" name="object 152">
            <a:extLst>
              <a:ext uri="{FF2B5EF4-FFF2-40B4-BE49-F238E27FC236}">
                <a16:creationId xmlns:a16="http://schemas.microsoft.com/office/drawing/2014/main" id="{897DF131-65F1-4571-83A0-A25BAF286D75}"/>
              </a:ext>
            </a:extLst>
          </p:cNvPr>
          <p:cNvSpPr/>
          <p:nvPr/>
        </p:nvSpPr>
        <p:spPr>
          <a:xfrm>
            <a:off x="1139288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9" name="object 153">
            <a:extLst>
              <a:ext uri="{FF2B5EF4-FFF2-40B4-BE49-F238E27FC236}">
                <a16:creationId xmlns:a16="http://schemas.microsoft.com/office/drawing/2014/main" id="{86B60118-9797-44B8-9471-59AE6183BE8F}"/>
              </a:ext>
            </a:extLst>
          </p:cNvPr>
          <p:cNvSpPr/>
          <p:nvPr/>
        </p:nvSpPr>
        <p:spPr>
          <a:xfrm>
            <a:off x="1327079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0" name="object 154">
            <a:extLst>
              <a:ext uri="{FF2B5EF4-FFF2-40B4-BE49-F238E27FC236}">
                <a16:creationId xmlns:a16="http://schemas.microsoft.com/office/drawing/2014/main" id="{C5928618-39EF-4A27-A8B9-263854185178}"/>
              </a:ext>
            </a:extLst>
          </p:cNvPr>
          <p:cNvSpPr/>
          <p:nvPr/>
        </p:nvSpPr>
        <p:spPr>
          <a:xfrm>
            <a:off x="1514868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1" name="object 155">
            <a:extLst>
              <a:ext uri="{FF2B5EF4-FFF2-40B4-BE49-F238E27FC236}">
                <a16:creationId xmlns:a16="http://schemas.microsoft.com/office/drawing/2014/main" id="{0638FBFE-B17F-4E5D-BC89-7B577B046AA6}"/>
              </a:ext>
            </a:extLst>
          </p:cNvPr>
          <p:cNvSpPr/>
          <p:nvPr/>
        </p:nvSpPr>
        <p:spPr>
          <a:xfrm>
            <a:off x="1702669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2" name="object 156">
            <a:extLst>
              <a:ext uri="{FF2B5EF4-FFF2-40B4-BE49-F238E27FC236}">
                <a16:creationId xmlns:a16="http://schemas.microsoft.com/office/drawing/2014/main" id="{09AFE608-7206-4E2B-AB5D-53CF689275C9}"/>
              </a:ext>
            </a:extLst>
          </p:cNvPr>
          <p:cNvSpPr/>
          <p:nvPr/>
        </p:nvSpPr>
        <p:spPr>
          <a:xfrm>
            <a:off x="1890459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3" name="object 157">
            <a:extLst>
              <a:ext uri="{FF2B5EF4-FFF2-40B4-BE49-F238E27FC236}">
                <a16:creationId xmlns:a16="http://schemas.microsoft.com/office/drawing/2014/main" id="{EF562D5B-F9BE-40AB-8D02-E9421F387705}"/>
              </a:ext>
            </a:extLst>
          </p:cNvPr>
          <p:cNvSpPr/>
          <p:nvPr/>
        </p:nvSpPr>
        <p:spPr>
          <a:xfrm>
            <a:off x="2078249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4" name="object 158">
            <a:extLst>
              <a:ext uri="{FF2B5EF4-FFF2-40B4-BE49-F238E27FC236}">
                <a16:creationId xmlns:a16="http://schemas.microsoft.com/office/drawing/2014/main" id="{4C05454B-3B5C-4000-BED9-187746C03672}"/>
              </a:ext>
            </a:extLst>
          </p:cNvPr>
          <p:cNvSpPr/>
          <p:nvPr/>
        </p:nvSpPr>
        <p:spPr>
          <a:xfrm>
            <a:off x="2266039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5" name="object 159">
            <a:extLst>
              <a:ext uri="{FF2B5EF4-FFF2-40B4-BE49-F238E27FC236}">
                <a16:creationId xmlns:a16="http://schemas.microsoft.com/office/drawing/2014/main" id="{FE254628-13CC-4881-AF05-C3414AFB36BC}"/>
              </a:ext>
            </a:extLst>
          </p:cNvPr>
          <p:cNvSpPr/>
          <p:nvPr/>
        </p:nvSpPr>
        <p:spPr>
          <a:xfrm>
            <a:off x="2453829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6" name="object 160">
            <a:extLst>
              <a:ext uri="{FF2B5EF4-FFF2-40B4-BE49-F238E27FC236}">
                <a16:creationId xmlns:a16="http://schemas.microsoft.com/office/drawing/2014/main" id="{25196872-3917-4E32-A7E3-9EA16D092507}"/>
              </a:ext>
            </a:extLst>
          </p:cNvPr>
          <p:cNvSpPr/>
          <p:nvPr/>
        </p:nvSpPr>
        <p:spPr>
          <a:xfrm>
            <a:off x="2641630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7" name="object 161">
            <a:extLst>
              <a:ext uri="{FF2B5EF4-FFF2-40B4-BE49-F238E27FC236}">
                <a16:creationId xmlns:a16="http://schemas.microsoft.com/office/drawing/2014/main" id="{56F3F2C7-AD33-40C9-919A-28226DC92162}"/>
              </a:ext>
            </a:extLst>
          </p:cNvPr>
          <p:cNvSpPr/>
          <p:nvPr/>
        </p:nvSpPr>
        <p:spPr>
          <a:xfrm>
            <a:off x="2829419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8" name="object 162">
            <a:extLst>
              <a:ext uri="{FF2B5EF4-FFF2-40B4-BE49-F238E27FC236}">
                <a16:creationId xmlns:a16="http://schemas.microsoft.com/office/drawing/2014/main" id="{1954C848-1B36-4CBA-82D6-AFD22D6BA2E2}"/>
              </a:ext>
            </a:extLst>
          </p:cNvPr>
          <p:cNvSpPr/>
          <p:nvPr/>
        </p:nvSpPr>
        <p:spPr>
          <a:xfrm>
            <a:off x="3017210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9" name="object 163">
            <a:extLst>
              <a:ext uri="{FF2B5EF4-FFF2-40B4-BE49-F238E27FC236}">
                <a16:creationId xmlns:a16="http://schemas.microsoft.com/office/drawing/2014/main" id="{07B29C26-9FE8-410A-843F-463B83EFB096}"/>
              </a:ext>
            </a:extLst>
          </p:cNvPr>
          <p:cNvSpPr/>
          <p:nvPr/>
        </p:nvSpPr>
        <p:spPr>
          <a:xfrm>
            <a:off x="3205010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0" name="object 164">
            <a:extLst>
              <a:ext uri="{FF2B5EF4-FFF2-40B4-BE49-F238E27FC236}">
                <a16:creationId xmlns:a16="http://schemas.microsoft.com/office/drawing/2014/main" id="{4C5EB3D6-4B36-409E-B408-36F56E910FDD}"/>
              </a:ext>
            </a:extLst>
          </p:cNvPr>
          <p:cNvSpPr/>
          <p:nvPr/>
        </p:nvSpPr>
        <p:spPr>
          <a:xfrm>
            <a:off x="3392800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1" name="object 165">
            <a:extLst>
              <a:ext uri="{FF2B5EF4-FFF2-40B4-BE49-F238E27FC236}">
                <a16:creationId xmlns:a16="http://schemas.microsoft.com/office/drawing/2014/main" id="{A13ED18F-93B7-4A58-B231-BC21FEAAB59D}"/>
              </a:ext>
            </a:extLst>
          </p:cNvPr>
          <p:cNvSpPr/>
          <p:nvPr/>
        </p:nvSpPr>
        <p:spPr>
          <a:xfrm>
            <a:off x="3580601" y="3746548"/>
            <a:ext cx="0" cy="32476"/>
          </a:xfrm>
          <a:custGeom>
            <a:avLst/>
            <a:gdLst/>
            <a:ahLst/>
            <a:cxnLst/>
            <a:rect l="l" t="t" r="r" b="b"/>
            <a:pathLst>
              <a:path h="36194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2" name="object 166">
            <a:extLst>
              <a:ext uri="{FF2B5EF4-FFF2-40B4-BE49-F238E27FC236}">
                <a16:creationId xmlns:a16="http://schemas.microsoft.com/office/drawing/2014/main" id="{8CF16E9D-1B47-40A6-9413-7112AFD5EEE2}"/>
              </a:ext>
            </a:extLst>
          </p:cNvPr>
          <p:cNvSpPr/>
          <p:nvPr/>
        </p:nvSpPr>
        <p:spPr>
          <a:xfrm>
            <a:off x="906348" y="2326208"/>
            <a:ext cx="2703739" cy="1420386"/>
          </a:xfrm>
          <a:custGeom>
            <a:avLst/>
            <a:gdLst/>
            <a:ahLst/>
            <a:cxnLst/>
            <a:rect l="l" t="t" r="r" b="b"/>
            <a:pathLst>
              <a:path w="3301365" h="1583055">
                <a:moveTo>
                  <a:pt x="3301339" y="1582991"/>
                </a:moveTo>
                <a:lnTo>
                  <a:pt x="0" y="1582991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3" name="object 167">
            <a:extLst>
              <a:ext uri="{FF2B5EF4-FFF2-40B4-BE49-F238E27FC236}">
                <a16:creationId xmlns:a16="http://schemas.microsoft.com/office/drawing/2014/main" id="{58ED9067-398C-48EA-9D8F-2F21FB6B0085}"/>
              </a:ext>
            </a:extLst>
          </p:cNvPr>
          <p:cNvSpPr/>
          <p:nvPr/>
        </p:nvSpPr>
        <p:spPr>
          <a:xfrm>
            <a:off x="951509" y="2358501"/>
            <a:ext cx="2579967" cy="601656"/>
          </a:xfrm>
          <a:custGeom>
            <a:avLst/>
            <a:gdLst/>
            <a:ahLst/>
            <a:cxnLst/>
            <a:rect l="l" t="t" r="r" b="b"/>
            <a:pathLst>
              <a:path w="3150234" h="670560">
                <a:moveTo>
                  <a:pt x="0" y="0"/>
                </a:moveTo>
                <a:lnTo>
                  <a:pt x="29578" y="0"/>
                </a:lnTo>
                <a:lnTo>
                  <a:pt x="29578" y="26835"/>
                </a:lnTo>
                <a:lnTo>
                  <a:pt x="47066" y="26835"/>
                </a:lnTo>
                <a:lnTo>
                  <a:pt x="47066" y="52273"/>
                </a:lnTo>
                <a:lnTo>
                  <a:pt x="60515" y="52273"/>
                </a:lnTo>
                <a:lnTo>
                  <a:pt x="60515" y="79286"/>
                </a:lnTo>
                <a:lnTo>
                  <a:pt x="92798" y="79286"/>
                </a:lnTo>
                <a:lnTo>
                  <a:pt x="92798" y="104711"/>
                </a:lnTo>
                <a:lnTo>
                  <a:pt x="115658" y="104711"/>
                </a:lnTo>
                <a:lnTo>
                  <a:pt x="115658" y="131546"/>
                </a:lnTo>
                <a:lnTo>
                  <a:pt x="160032" y="131546"/>
                </a:lnTo>
                <a:lnTo>
                  <a:pt x="160032" y="158394"/>
                </a:lnTo>
                <a:lnTo>
                  <a:pt x="172148" y="158394"/>
                </a:lnTo>
                <a:lnTo>
                  <a:pt x="172148" y="183819"/>
                </a:lnTo>
                <a:lnTo>
                  <a:pt x="207251" y="183819"/>
                </a:lnTo>
                <a:lnTo>
                  <a:pt x="207251" y="210718"/>
                </a:lnTo>
                <a:lnTo>
                  <a:pt x="212610" y="210718"/>
                </a:lnTo>
                <a:lnTo>
                  <a:pt x="212610" y="237540"/>
                </a:lnTo>
                <a:lnTo>
                  <a:pt x="222046" y="237540"/>
                </a:lnTo>
                <a:lnTo>
                  <a:pt x="222046" y="263093"/>
                </a:lnTo>
                <a:lnTo>
                  <a:pt x="261035" y="263093"/>
                </a:lnTo>
                <a:lnTo>
                  <a:pt x="261035" y="289928"/>
                </a:lnTo>
                <a:lnTo>
                  <a:pt x="291973" y="289928"/>
                </a:lnTo>
                <a:lnTo>
                  <a:pt x="291973" y="315417"/>
                </a:lnTo>
                <a:lnTo>
                  <a:pt x="313474" y="315417"/>
                </a:lnTo>
                <a:lnTo>
                  <a:pt x="313474" y="342252"/>
                </a:lnTo>
                <a:lnTo>
                  <a:pt x="317538" y="342252"/>
                </a:lnTo>
                <a:lnTo>
                  <a:pt x="317538" y="369100"/>
                </a:lnTo>
                <a:lnTo>
                  <a:pt x="359206" y="369100"/>
                </a:lnTo>
                <a:lnTo>
                  <a:pt x="359206" y="394512"/>
                </a:lnTo>
                <a:lnTo>
                  <a:pt x="400939" y="394512"/>
                </a:lnTo>
                <a:lnTo>
                  <a:pt x="400939" y="421347"/>
                </a:lnTo>
                <a:lnTo>
                  <a:pt x="421106" y="421347"/>
                </a:lnTo>
                <a:lnTo>
                  <a:pt x="421106" y="448360"/>
                </a:lnTo>
                <a:lnTo>
                  <a:pt x="465467" y="448360"/>
                </a:lnTo>
                <a:lnTo>
                  <a:pt x="465467" y="473811"/>
                </a:lnTo>
                <a:lnTo>
                  <a:pt x="524662" y="473811"/>
                </a:lnTo>
                <a:lnTo>
                  <a:pt x="524662" y="500634"/>
                </a:lnTo>
                <a:lnTo>
                  <a:pt x="555548" y="500634"/>
                </a:lnTo>
                <a:lnTo>
                  <a:pt x="555548" y="526059"/>
                </a:lnTo>
                <a:lnTo>
                  <a:pt x="811288" y="526059"/>
                </a:lnTo>
                <a:lnTo>
                  <a:pt x="811288" y="554316"/>
                </a:lnTo>
                <a:lnTo>
                  <a:pt x="2105609" y="554316"/>
                </a:lnTo>
                <a:lnTo>
                  <a:pt x="2105609" y="581152"/>
                </a:lnTo>
                <a:lnTo>
                  <a:pt x="2269655" y="581152"/>
                </a:lnTo>
                <a:lnTo>
                  <a:pt x="2269655" y="609473"/>
                </a:lnTo>
                <a:lnTo>
                  <a:pt x="2424506" y="609473"/>
                </a:lnTo>
                <a:lnTo>
                  <a:pt x="2424506" y="637844"/>
                </a:lnTo>
                <a:lnTo>
                  <a:pt x="2736494" y="637844"/>
                </a:lnTo>
                <a:lnTo>
                  <a:pt x="2736494" y="670344"/>
                </a:lnTo>
                <a:lnTo>
                  <a:pt x="3149638" y="670344"/>
                </a:lnTo>
              </a:path>
            </a:pathLst>
          </a:custGeom>
          <a:ln w="15875">
            <a:solidFill>
              <a:schemeClr val="accent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4" name="object 168">
            <a:extLst>
              <a:ext uri="{FF2B5EF4-FFF2-40B4-BE49-F238E27FC236}">
                <a16:creationId xmlns:a16="http://schemas.microsoft.com/office/drawing/2014/main" id="{DCB460AE-5A01-4AE5-84A4-0499ED997762}"/>
              </a:ext>
            </a:extLst>
          </p:cNvPr>
          <p:cNvSpPr/>
          <p:nvPr/>
        </p:nvSpPr>
        <p:spPr>
          <a:xfrm>
            <a:off x="1417359" y="2811497"/>
            <a:ext cx="806077" cy="60963"/>
          </a:xfrm>
          <a:custGeom>
            <a:avLst/>
            <a:gdLst/>
            <a:ahLst/>
            <a:cxnLst/>
            <a:rect l="l" t="t" r="r" b="b"/>
            <a:pathLst>
              <a:path w="984250" h="67944">
                <a:moveTo>
                  <a:pt x="41021" y="20510"/>
                </a:moveTo>
                <a:lnTo>
                  <a:pt x="39408" y="12534"/>
                </a:lnTo>
                <a:lnTo>
                  <a:pt x="35013" y="6007"/>
                </a:lnTo>
                <a:lnTo>
                  <a:pt x="28486" y="1612"/>
                </a:lnTo>
                <a:lnTo>
                  <a:pt x="20510" y="0"/>
                </a:lnTo>
                <a:lnTo>
                  <a:pt x="12522" y="1612"/>
                </a:lnTo>
                <a:lnTo>
                  <a:pt x="6007" y="6007"/>
                </a:lnTo>
                <a:lnTo>
                  <a:pt x="1600" y="12534"/>
                </a:lnTo>
                <a:lnTo>
                  <a:pt x="0" y="20510"/>
                </a:lnTo>
                <a:lnTo>
                  <a:pt x="1600" y="28498"/>
                </a:lnTo>
                <a:lnTo>
                  <a:pt x="6007" y="35013"/>
                </a:lnTo>
                <a:lnTo>
                  <a:pt x="12522" y="39420"/>
                </a:lnTo>
                <a:lnTo>
                  <a:pt x="20510" y="41021"/>
                </a:lnTo>
                <a:lnTo>
                  <a:pt x="28486" y="39420"/>
                </a:lnTo>
                <a:lnTo>
                  <a:pt x="35013" y="35013"/>
                </a:lnTo>
                <a:lnTo>
                  <a:pt x="39408" y="28498"/>
                </a:lnTo>
                <a:lnTo>
                  <a:pt x="41021" y="20510"/>
                </a:lnTo>
                <a:close/>
              </a:path>
              <a:path w="984250" h="67944">
                <a:moveTo>
                  <a:pt x="984084" y="47345"/>
                </a:moveTo>
                <a:lnTo>
                  <a:pt x="982472" y="39370"/>
                </a:lnTo>
                <a:lnTo>
                  <a:pt x="978077" y="32842"/>
                </a:lnTo>
                <a:lnTo>
                  <a:pt x="971550" y="28448"/>
                </a:lnTo>
                <a:lnTo>
                  <a:pt x="963574" y="26835"/>
                </a:lnTo>
                <a:lnTo>
                  <a:pt x="955586" y="28448"/>
                </a:lnTo>
                <a:lnTo>
                  <a:pt x="949071" y="32842"/>
                </a:lnTo>
                <a:lnTo>
                  <a:pt x="944676" y="39370"/>
                </a:lnTo>
                <a:lnTo>
                  <a:pt x="943063" y="47345"/>
                </a:lnTo>
                <a:lnTo>
                  <a:pt x="944676" y="55333"/>
                </a:lnTo>
                <a:lnTo>
                  <a:pt x="949071" y="61849"/>
                </a:lnTo>
                <a:lnTo>
                  <a:pt x="955586" y="66255"/>
                </a:lnTo>
                <a:lnTo>
                  <a:pt x="963574" y="67856"/>
                </a:lnTo>
                <a:lnTo>
                  <a:pt x="971550" y="66255"/>
                </a:lnTo>
                <a:lnTo>
                  <a:pt x="978077" y="61849"/>
                </a:lnTo>
                <a:lnTo>
                  <a:pt x="982472" y="55333"/>
                </a:lnTo>
                <a:lnTo>
                  <a:pt x="984084" y="47345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45" name="object 169">
            <a:extLst>
              <a:ext uri="{FF2B5EF4-FFF2-40B4-BE49-F238E27FC236}">
                <a16:creationId xmlns:a16="http://schemas.microsoft.com/office/drawing/2014/main" id="{C5C21B63-7549-4C16-9C91-6DF52935C588}"/>
              </a:ext>
            </a:extLst>
          </p:cNvPr>
          <p:cNvPicPr/>
          <p:nvPr/>
        </p:nvPicPr>
        <p:blipFill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50000"/>
                    </a14:imgEffect>
                    <a14:imgEffect>
                      <a14:colorTemperature colorTemp="4700"/>
                    </a14:imgEffect>
                    <a14:imgEffect>
                      <a14:saturation sat="33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63707" y="2910441"/>
            <a:ext cx="317875" cy="67299"/>
          </a:xfrm>
          <a:prstGeom prst="rect">
            <a:avLst/>
          </a:prstGeom>
          <a:ln>
            <a:noFill/>
          </a:ln>
        </p:spPr>
      </p:pic>
      <p:sp>
        <p:nvSpPr>
          <p:cNvPr id="246" name="object 170">
            <a:extLst>
              <a:ext uri="{FF2B5EF4-FFF2-40B4-BE49-F238E27FC236}">
                <a16:creationId xmlns:a16="http://schemas.microsoft.com/office/drawing/2014/main" id="{5763B395-C98D-4B1A-8A44-34491FD0BC32}"/>
              </a:ext>
            </a:extLst>
          </p:cNvPr>
          <p:cNvSpPr/>
          <p:nvPr/>
        </p:nvSpPr>
        <p:spPr>
          <a:xfrm>
            <a:off x="3514190" y="2940934"/>
            <a:ext cx="33803" cy="37034"/>
          </a:xfrm>
          <a:custGeom>
            <a:avLst/>
            <a:gdLst/>
            <a:ahLst/>
            <a:cxnLst/>
            <a:rect l="l" t="t" r="r" b="b"/>
            <a:pathLst>
              <a:path w="41275" h="41275">
                <a:moveTo>
                  <a:pt x="20510" y="0"/>
                </a:moveTo>
                <a:lnTo>
                  <a:pt x="12521" y="1611"/>
                </a:lnTo>
                <a:lnTo>
                  <a:pt x="6002" y="6007"/>
                </a:lnTo>
                <a:lnTo>
                  <a:pt x="1609" y="12526"/>
                </a:lnTo>
                <a:lnTo>
                  <a:pt x="0" y="20510"/>
                </a:lnTo>
                <a:lnTo>
                  <a:pt x="1609" y="28494"/>
                </a:lnTo>
                <a:lnTo>
                  <a:pt x="6002" y="35013"/>
                </a:lnTo>
                <a:lnTo>
                  <a:pt x="12521" y="39409"/>
                </a:lnTo>
                <a:lnTo>
                  <a:pt x="20510" y="41021"/>
                </a:lnTo>
                <a:lnTo>
                  <a:pt x="28499" y="39409"/>
                </a:lnTo>
                <a:lnTo>
                  <a:pt x="35018" y="35013"/>
                </a:lnTo>
                <a:lnTo>
                  <a:pt x="39411" y="28494"/>
                </a:lnTo>
                <a:lnTo>
                  <a:pt x="41021" y="20510"/>
                </a:lnTo>
                <a:lnTo>
                  <a:pt x="39411" y="12526"/>
                </a:lnTo>
                <a:lnTo>
                  <a:pt x="35018" y="6007"/>
                </a:lnTo>
                <a:lnTo>
                  <a:pt x="28499" y="1611"/>
                </a:lnTo>
                <a:lnTo>
                  <a:pt x="2051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 sz="14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7" name="object 171">
            <a:extLst>
              <a:ext uri="{FF2B5EF4-FFF2-40B4-BE49-F238E27FC236}">
                <a16:creationId xmlns:a16="http://schemas.microsoft.com/office/drawing/2014/main" id="{C593FF6D-DF32-4527-896F-6748FF51A294}"/>
              </a:ext>
            </a:extLst>
          </p:cNvPr>
          <p:cNvSpPr txBox="1"/>
          <p:nvPr/>
        </p:nvSpPr>
        <p:spPr>
          <a:xfrm>
            <a:off x="675887" y="2273065"/>
            <a:ext cx="178394" cy="1360674"/>
          </a:xfrm>
          <a:prstGeom prst="rect">
            <a:avLst/>
          </a:prstGeom>
        </p:spPr>
        <p:txBody>
          <a:bodyPr vert="horz" wrap="square" lIns="0" tIns="50800" rIns="0" bIns="0" rtlCol="0">
            <a:spAutoFit/>
          </a:bodyPr>
          <a:lstStyle/>
          <a:p>
            <a:pPr marR="5080" algn="r">
              <a:lnSpc>
                <a:spcPct val="107000"/>
              </a:lnSpc>
              <a:spcBef>
                <a:spcPts val="400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10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5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9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0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8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5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7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0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6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5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5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0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4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5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3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0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2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5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1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0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48" name="object 172">
            <a:extLst>
              <a:ext uri="{FF2B5EF4-FFF2-40B4-BE49-F238E27FC236}">
                <a16:creationId xmlns:a16="http://schemas.microsoft.com/office/drawing/2014/main" id="{D7214CD1-C476-4BCC-831B-6F5B1569813D}"/>
              </a:ext>
            </a:extLst>
          </p:cNvPr>
          <p:cNvSpPr txBox="1"/>
          <p:nvPr/>
        </p:nvSpPr>
        <p:spPr>
          <a:xfrm>
            <a:off x="1984780" y="3911849"/>
            <a:ext cx="557494" cy="1081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zh-CN" altLang="en-US" sz="700" spc="-12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</a:rPr>
              <a:t>时间（月）</a:t>
            </a:r>
            <a:endParaRPr sz="700" dirty="0">
              <a:latin typeface="Microsoft YaHei" panose="020B0503020204020204" pitchFamily="34" charset="-122"/>
              <a:ea typeface="Microsoft YaHei" panose="020B0503020204020204" pitchFamily="34" charset="-122"/>
              <a:cs typeface="Arial"/>
            </a:endParaRPr>
          </a:p>
        </p:txBody>
      </p:sp>
      <p:sp>
        <p:nvSpPr>
          <p:cNvPr id="181" name="object 173">
            <a:extLst>
              <a:ext uri="{FF2B5EF4-FFF2-40B4-BE49-F238E27FC236}">
                <a16:creationId xmlns:a16="http://schemas.microsoft.com/office/drawing/2014/main" id="{FB92DD37-4436-45F1-97D5-B6EE5D934707}"/>
              </a:ext>
            </a:extLst>
          </p:cNvPr>
          <p:cNvSpPr txBox="1"/>
          <p:nvPr/>
        </p:nvSpPr>
        <p:spPr>
          <a:xfrm>
            <a:off x="907286" y="3820073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182" name="object 173">
            <a:extLst>
              <a:ext uri="{FF2B5EF4-FFF2-40B4-BE49-F238E27FC236}">
                <a16:creationId xmlns:a16="http://schemas.microsoft.com/office/drawing/2014/main" id="{C06029B9-AEBE-488F-A68B-F54535863373}"/>
              </a:ext>
            </a:extLst>
          </p:cNvPr>
          <p:cNvSpPr txBox="1"/>
          <p:nvPr/>
        </p:nvSpPr>
        <p:spPr>
          <a:xfrm>
            <a:off x="1094940" y="3820073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6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02" name="object 173">
            <a:extLst>
              <a:ext uri="{FF2B5EF4-FFF2-40B4-BE49-F238E27FC236}">
                <a16:creationId xmlns:a16="http://schemas.microsoft.com/office/drawing/2014/main" id="{008D159C-2D7B-4746-B5D4-9CA39256B4CF}"/>
              </a:ext>
            </a:extLst>
          </p:cNvPr>
          <p:cNvSpPr txBox="1"/>
          <p:nvPr/>
        </p:nvSpPr>
        <p:spPr>
          <a:xfrm>
            <a:off x="1282595" y="3820073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12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04" name="object 173">
            <a:extLst>
              <a:ext uri="{FF2B5EF4-FFF2-40B4-BE49-F238E27FC236}">
                <a16:creationId xmlns:a16="http://schemas.microsoft.com/office/drawing/2014/main" id="{790CE37F-EC85-4B14-90BA-D0CBCB2A32CF}"/>
              </a:ext>
            </a:extLst>
          </p:cNvPr>
          <p:cNvSpPr txBox="1"/>
          <p:nvPr/>
        </p:nvSpPr>
        <p:spPr>
          <a:xfrm>
            <a:off x="1470249" y="3820073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18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05" name="object 173">
            <a:extLst>
              <a:ext uri="{FF2B5EF4-FFF2-40B4-BE49-F238E27FC236}">
                <a16:creationId xmlns:a16="http://schemas.microsoft.com/office/drawing/2014/main" id="{1C07CEBD-A3D7-40AC-90CC-07A321F074B8}"/>
              </a:ext>
            </a:extLst>
          </p:cNvPr>
          <p:cNvSpPr txBox="1"/>
          <p:nvPr/>
        </p:nvSpPr>
        <p:spPr>
          <a:xfrm>
            <a:off x="1657903" y="3820073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24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06" name="object 173">
            <a:extLst>
              <a:ext uri="{FF2B5EF4-FFF2-40B4-BE49-F238E27FC236}">
                <a16:creationId xmlns:a16="http://schemas.microsoft.com/office/drawing/2014/main" id="{11727850-E821-4C17-BDB8-8CDB6D496CA9}"/>
              </a:ext>
            </a:extLst>
          </p:cNvPr>
          <p:cNvSpPr txBox="1"/>
          <p:nvPr/>
        </p:nvSpPr>
        <p:spPr>
          <a:xfrm>
            <a:off x="1845558" y="3820073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3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07" name="object 173">
            <a:extLst>
              <a:ext uri="{FF2B5EF4-FFF2-40B4-BE49-F238E27FC236}">
                <a16:creationId xmlns:a16="http://schemas.microsoft.com/office/drawing/2014/main" id="{8F4AE097-A21E-488F-A461-C7A24224B808}"/>
              </a:ext>
            </a:extLst>
          </p:cNvPr>
          <p:cNvSpPr txBox="1"/>
          <p:nvPr/>
        </p:nvSpPr>
        <p:spPr>
          <a:xfrm>
            <a:off x="2033213" y="3820073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36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08" name="object 173">
            <a:extLst>
              <a:ext uri="{FF2B5EF4-FFF2-40B4-BE49-F238E27FC236}">
                <a16:creationId xmlns:a16="http://schemas.microsoft.com/office/drawing/2014/main" id="{2E2DAB93-61B6-4BB0-A03E-AAB4E4541AC7}"/>
              </a:ext>
            </a:extLst>
          </p:cNvPr>
          <p:cNvSpPr txBox="1"/>
          <p:nvPr/>
        </p:nvSpPr>
        <p:spPr>
          <a:xfrm>
            <a:off x="2220867" y="3820073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42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09" name="object 173">
            <a:extLst>
              <a:ext uri="{FF2B5EF4-FFF2-40B4-BE49-F238E27FC236}">
                <a16:creationId xmlns:a16="http://schemas.microsoft.com/office/drawing/2014/main" id="{A9CCD801-40C2-4BC5-BD70-DFCA1E511E53}"/>
              </a:ext>
            </a:extLst>
          </p:cNvPr>
          <p:cNvSpPr txBox="1"/>
          <p:nvPr/>
        </p:nvSpPr>
        <p:spPr>
          <a:xfrm>
            <a:off x="2408522" y="3820073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48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10" name="object 173">
            <a:extLst>
              <a:ext uri="{FF2B5EF4-FFF2-40B4-BE49-F238E27FC236}">
                <a16:creationId xmlns:a16="http://schemas.microsoft.com/office/drawing/2014/main" id="{D75E5564-7246-4DDD-9534-50730ACF423F}"/>
              </a:ext>
            </a:extLst>
          </p:cNvPr>
          <p:cNvSpPr txBox="1"/>
          <p:nvPr/>
        </p:nvSpPr>
        <p:spPr>
          <a:xfrm>
            <a:off x="2596175" y="3820073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54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11" name="object 173">
            <a:extLst>
              <a:ext uri="{FF2B5EF4-FFF2-40B4-BE49-F238E27FC236}">
                <a16:creationId xmlns:a16="http://schemas.microsoft.com/office/drawing/2014/main" id="{8E93F3EF-D415-4BBD-9986-B4BD558F0C13}"/>
              </a:ext>
            </a:extLst>
          </p:cNvPr>
          <p:cNvSpPr txBox="1"/>
          <p:nvPr/>
        </p:nvSpPr>
        <p:spPr>
          <a:xfrm>
            <a:off x="2783830" y="3820073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6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12" name="object 173">
            <a:extLst>
              <a:ext uri="{FF2B5EF4-FFF2-40B4-BE49-F238E27FC236}">
                <a16:creationId xmlns:a16="http://schemas.microsoft.com/office/drawing/2014/main" id="{95B1EC32-B8D4-455B-89D1-8E2C2C9BABAE}"/>
              </a:ext>
            </a:extLst>
          </p:cNvPr>
          <p:cNvSpPr txBox="1"/>
          <p:nvPr/>
        </p:nvSpPr>
        <p:spPr>
          <a:xfrm>
            <a:off x="2971486" y="3820421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66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13" name="object 173">
            <a:extLst>
              <a:ext uri="{FF2B5EF4-FFF2-40B4-BE49-F238E27FC236}">
                <a16:creationId xmlns:a16="http://schemas.microsoft.com/office/drawing/2014/main" id="{34547F2F-D2AD-4FE1-B013-0748A429DBED}"/>
              </a:ext>
            </a:extLst>
          </p:cNvPr>
          <p:cNvSpPr txBox="1"/>
          <p:nvPr/>
        </p:nvSpPr>
        <p:spPr>
          <a:xfrm>
            <a:off x="3159139" y="3820421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72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14" name="object 173">
            <a:extLst>
              <a:ext uri="{FF2B5EF4-FFF2-40B4-BE49-F238E27FC236}">
                <a16:creationId xmlns:a16="http://schemas.microsoft.com/office/drawing/2014/main" id="{70205D60-D313-4DFF-80F1-B72AD7DF84FB}"/>
              </a:ext>
            </a:extLst>
          </p:cNvPr>
          <p:cNvSpPr txBox="1"/>
          <p:nvPr/>
        </p:nvSpPr>
        <p:spPr>
          <a:xfrm>
            <a:off x="3346794" y="3820421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78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15" name="object 173">
            <a:extLst>
              <a:ext uri="{FF2B5EF4-FFF2-40B4-BE49-F238E27FC236}">
                <a16:creationId xmlns:a16="http://schemas.microsoft.com/office/drawing/2014/main" id="{A18B93B4-263D-4706-A8BE-B7EB7404429A}"/>
              </a:ext>
            </a:extLst>
          </p:cNvPr>
          <p:cNvSpPr txBox="1"/>
          <p:nvPr/>
        </p:nvSpPr>
        <p:spPr>
          <a:xfrm>
            <a:off x="3534449" y="3820421"/>
            <a:ext cx="94480" cy="94352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84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50" name="object 6">
            <a:extLst>
              <a:ext uri="{FF2B5EF4-FFF2-40B4-BE49-F238E27FC236}">
                <a16:creationId xmlns:a16="http://schemas.microsoft.com/office/drawing/2014/main" id="{8D029F54-4185-4B17-B68F-4D109B993692}"/>
              </a:ext>
            </a:extLst>
          </p:cNvPr>
          <p:cNvSpPr/>
          <p:nvPr/>
        </p:nvSpPr>
        <p:spPr>
          <a:xfrm>
            <a:off x="3962808" y="3722275"/>
            <a:ext cx="30049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51" name="object 7">
            <a:extLst>
              <a:ext uri="{FF2B5EF4-FFF2-40B4-BE49-F238E27FC236}">
                <a16:creationId xmlns:a16="http://schemas.microsoft.com/office/drawing/2014/main" id="{AB2B1BB1-C051-413B-BEC7-7833C1D136C4}"/>
              </a:ext>
            </a:extLst>
          </p:cNvPr>
          <p:cNvSpPr/>
          <p:nvPr/>
        </p:nvSpPr>
        <p:spPr>
          <a:xfrm>
            <a:off x="3962808" y="3587077"/>
            <a:ext cx="30049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52" name="object 8">
            <a:extLst>
              <a:ext uri="{FF2B5EF4-FFF2-40B4-BE49-F238E27FC236}">
                <a16:creationId xmlns:a16="http://schemas.microsoft.com/office/drawing/2014/main" id="{62FA71FB-8C2B-4E8D-964F-FE6940FDE313}"/>
              </a:ext>
            </a:extLst>
          </p:cNvPr>
          <p:cNvSpPr/>
          <p:nvPr/>
        </p:nvSpPr>
        <p:spPr>
          <a:xfrm>
            <a:off x="3962808" y="3451890"/>
            <a:ext cx="30049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53" name="object 9">
            <a:extLst>
              <a:ext uri="{FF2B5EF4-FFF2-40B4-BE49-F238E27FC236}">
                <a16:creationId xmlns:a16="http://schemas.microsoft.com/office/drawing/2014/main" id="{8B8A1E93-31AE-4CBD-B509-6063241E003C}"/>
              </a:ext>
            </a:extLst>
          </p:cNvPr>
          <p:cNvSpPr/>
          <p:nvPr/>
        </p:nvSpPr>
        <p:spPr>
          <a:xfrm>
            <a:off x="3962808" y="3316692"/>
            <a:ext cx="30049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54" name="object 10">
            <a:extLst>
              <a:ext uri="{FF2B5EF4-FFF2-40B4-BE49-F238E27FC236}">
                <a16:creationId xmlns:a16="http://schemas.microsoft.com/office/drawing/2014/main" id="{EF7526D4-02D0-42B1-9F12-9DB913DBA1D5}"/>
              </a:ext>
            </a:extLst>
          </p:cNvPr>
          <p:cNvSpPr/>
          <p:nvPr/>
        </p:nvSpPr>
        <p:spPr>
          <a:xfrm>
            <a:off x="3962808" y="3181504"/>
            <a:ext cx="30049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55" name="object 11">
            <a:extLst>
              <a:ext uri="{FF2B5EF4-FFF2-40B4-BE49-F238E27FC236}">
                <a16:creationId xmlns:a16="http://schemas.microsoft.com/office/drawing/2014/main" id="{D3676982-3668-40D8-8337-BB23CDD627D9}"/>
              </a:ext>
            </a:extLst>
          </p:cNvPr>
          <p:cNvSpPr/>
          <p:nvPr/>
        </p:nvSpPr>
        <p:spPr>
          <a:xfrm>
            <a:off x="3962808" y="3046317"/>
            <a:ext cx="30049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56" name="object 12">
            <a:extLst>
              <a:ext uri="{FF2B5EF4-FFF2-40B4-BE49-F238E27FC236}">
                <a16:creationId xmlns:a16="http://schemas.microsoft.com/office/drawing/2014/main" id="{6DFC846A-BFC5-4552-B238-382D91DDBDB3}"/>
              </a:ext>
            </a:extLst>
          </p:cNvPr>
          <p:cNvSpPr/>
          <p:nvPr/>
        </p:nvSpPr>
        <p:spPr>
          <a:xfrm>
            <a:off x="3962808" y="2911118"/>
            <a:ext cx="30049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57" name="object 13">
            <a:extLst>
              <a:ext uri="{FF2B5EF4-FFF2-40B4-BE49-F238E27FC236}">
                <a16:creationId xmlns:a16="http://schemas.microsoft.com/office/drawing/2014/main" id="{39608229-75FE-44D6-9E24-49172FEDADA5}"/>
              </a:ext>
            </a:extLst>
          </p:cNvPr>
          <p:cNvSpPr/>
          <p:nvPr/>
        </p:nvSpPr>
        <p:spPr>
          <a:xfrm>
            <a:off x="3962808" y="2775931"/>
            <a:ext cx="30049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58" name="object 14">
            <a:extLst>
              <a:ext uri="{FF2B5EF4-FFF2-40B4-BE49-F238E27FC236}">
                <a16:creationId xmlns:a16="http://schemas.microsoft.com/office/drawing/2014/main" id="{FBAB44B8-EA4E-47F4-B639-91749D567E0B}"/>
              </a:ext>
            </a:extLst>
          </p:cNvPr>
          <p:cNvSpPr/>
          <p:nvPr/>
        </p:nvSpPr>
        <p:spPr>
          <a:xfrm>
            <a:off x="3962808" y="2640733"/>
            <a:ext cx="30049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59" name="object 15">
            <a:extLst>
              <a:ext uri="{FF2B5EF4-FFF2-40B4-BE49-F238E27FC236}">
                <a16:creationId xmlns:a16="http://schemas.microsoft.com/office/drawing/2014/main" id="{81AA7F6A-FF63-44EB-97C9-8D58EF64612B}"/>
              </a:ext>
            </a:extLst>
          </p:cNvPr>
          <p:cNvSpPr/>
          <p:nvPr/>
        </p:nvSpPr>
        <p:spPr>
          <a:xfrm>
            <a:off x="3962808" y="2505545"/>
            <a:ext cx="30049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60" name="object 16">
            <a:extLst>
              <a:ext uri="{FF2B5EF4-FFF2-40B4-BE49-F238E27FC236}">
                <a16:creationId xmlns:a16="http://schemas.microsoft.com/office/drawing/2014/main" id="{C5E48272-A070-454B-AE25-2BC7838E4D82}"/>
              </a:ext>
            </a:extLst>
          </p:cNvPr>
          <p:cNvSpPr/>
          <p:nvPr/>
        </p:nvSpPr>
        <p:spPr>
          <a:xfrm>
            <a:off x="3962808" y="2370359"/>
            <a:ext cx="30049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991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61" name="object 17">
            <a:extLst>
              <a:ext uri="{FF2B5EF4-FFF2-40B4-BE49-F238E27FC236}">
                <a16:creationId xmlns:a16="http://schemas.microsoft.com/office/drawing/2014/main" id="{5D1EE9A8-0648-468E-9DE2-7B3496039A65}"/>
              </a:ext>
            </a:extLst>
          </p:cNvPr>
          <p:cNvSpPr/>
          <p:nvPr/>
        </p:nvSpPr>
        <p:spPr>
          <a:xfrm>
            <a:off x="4038037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62" name="object 18">
            <a:extLst>
              <a:ext uri="{FF2B5EF4-FFF2-40B4-BE49-F238E27FC236}">
                <a16:creationId xmlns:a16="http://schemas.microsoft.com/office/drawing/2014/main" id="{CD36BBFB-A930-439B-BE59-49F2D0C7D686}"/>
              </a:ext>
            </a:extLst>
          </p:cNvPr>
          <p:cNvSpPr/>
          <p:nvPr/>
        </p:nvSpPr>
        <p:spPr>
          <a:xfrm>
            <a:off x="4228434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63" name="object 19">
            <a:extLst>
              <a:ext uri="{FF2B5EF4-FFF2-40B4-BE49-F238E27FC236}">
                <a16:creationId xmlns:a16="http://schemas.microsoft.com/office/drawing/2014/main" id="{529ADB1E-5E0D-4993-B9C2-C583BE507327}"/>
              </a:ext>
            </a:extLst>
          </p:cNvPr>
          <p:cNvSpPr/>
          <p:nvPr/>
        </p:nvSpPr>
        <p:spPr>
          <a:xfrm>
            <a:off x="4418830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64" name="object 20">
            <a:extLst>
              <a:ext uri="{FF2B5EF4-FFF2-40B4-BE49-F238E27FC236}">
                <a16:creationId xmlns:a16="http://schemas.microsoft.com/office/drawing/2014/main" id="{638848A5-3119-4D9A-A4F8-ADCE27CBAA9C}"/>
              </a:ext>
            </a:extLst>
          </p:cNvPr>
          <p:cNvSpPr/>
          <p:nvPr/>
        </p:nvSpPr>
        <p:spPr>
          <a:xfrm>
            <a:off x="4609227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65" name="object 21">
            <a:extLst>
              <a:ext uri="{FF2B5EF4-FFF2-40B4-BE49-F238E27FC236}">
                <a16:creationId xmlns:a16="http://schemas.microsoft.com/office/drawing/2014/main" id="{E0F24644-AC4C-4D04-8784-7AD680618FBC}"/>
              </a:ext>
            </a:extLst>
          </p:cNvPr>
          <p:cNvSpPr/>
          <p:nvPr/>
        </p:nvSpPr>
        <p:spPr>
          <a:xfrm>
            <a:off x="4799622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66" name="object 22">
            <a:extLst>
              <a:ext uri="{FF2B5EF4-FFF2-40B4-BE49-F238E27FC236}">
                <a16:creationId xmlns:a16="http://schemas.microsoft.com/office/drawing/2014/main" id="{CC15312D-BD34-4E5D-B9CE-FEAB29539F99}"/>
              </a:ext>
            </a:extLst>
          </p:cNvPr>
          <p:cNvSpPr/>
          <p:nvPr/>
        </p:nvSpPr>
        <p:spPr>
          <a:xfrm>
            <a:off x="4990019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67" name="object 23">
            <a:extLst>
              <a:ext uri="{FF2B5EF4-FFF2-40B4-BE49-F238E27FC236}">
                <a16:creationId xmlns:a16="http://schemas.microsoft.com/office/drawing/2014/main" id="{A0170C26-DCD0-45C7-BAC4-6417659EFD7A}"/>
              </a:ext>
            </a:extLst>
          </p:cNvPr>
          <p:cNvSpPr/>
          <p:nvPr/>
        </p:nvSpPr>
        <p:spPr>
          <a:xfrm>
            <a:off x="5180416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68" name="object 24">
            <a:extLst>
              <a:ext uri="{FF2B5EF4-FFF2-40B4-BE49-F238E27FC236}">
                <a16:creationId xmlns:a16="http://schemas.microsoft.com/office/drawing/2014/main" id="{E8E396DA-8215-4E07-8B27-00A374AD6A07}"/>
              </a:ext>
            </a:extLst>
          </p:cNvPr>
          <p:cNvSpPr/>
          <p:nvPr/>
        </p:nvSpPr>
        <p:spPr>
          <a:xfrm>
            <a:off x="5370812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69" name="object 25">
            <a:extLst>
              <a:ext uri="{FF2B5EF4-FFF2-40B4-BE49-F238E27FC236}">
                <a16:creationId xmlns:a16="http://schemas.microsoft.com/office/drawing/2014/main" id="{74AAFC2E-C980-462D-A349-006711DE0CB0}"/>
              </a:ext>
            </a:extLst>
          </p:cNvPr>
          <p:cNvSpPr/>
          <p:nvPr/>
        </p:nvSpPr>
        <p:spPr>
          <a:xfrm>
            <a:off x="5561220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70" name="object 26">
            <a:extLst>
              <a:ext uri="{FF2B5EF4-FFF2-40B4-BE49-F238E27FC236}">
                <a16:creationId xmlns:a16="http://schemas.microsoft.com/office/drawing/2014/main" id="{EE292118-B3B8-48D2-AA98-30BCB7373E71}"/>
              </a:ext>
            </a:extLst>
          </p:cNvPr>
          <p:cNvSpPr/>
          <p:nvPr/>
        </p:nvSpPr>
        <p:spPr>
          <a:xfrm>
            <a:off x="5751615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71" name="object 27">
            <a:extLst>
              <a:ext uri="{FF2B5EF4-FFF2-40B4-BE49-F238E27FC236}">
                <a16:creationId xmlns:a16="http://schemas.microsoft.com/office/drawing/2014/main" id="{308A597D-3909-4F45-843C-8C842BDF4611}"/>
              </a:ext>
            </a:extLst>
          </p:cNvPr>
          <p:cNvSpPr/>
          <p:nvPr/>
        </p:nvSpPr>
        <p:spPr>
          <a:xfrm>
            <a:off x="5942012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72" name="object 28">
            <a:extLst>
              <a:ext uri="{FF2B5EF4-FFF2-40B4-BE49-F238E27FC236}">
                <a16:creationId xmlns:a16="http://schemas.microsoft.com/office/drawing/2014/main" id="{973B2D6C-FF00-425C-B454-11B2174EF2F0}"/>
              </a:ext>
            </a:extLst>
          </p:cNvPr>
          <p:cNvSpPr/>
          <p:nvPr/>
        </p:nvSpPr>
        <p:spPr>
          <a:xfrm>
            <a:off x="6132409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73" name="object 29">
            <a:extLst>
              <a:ext uri="{FF2B5EF4-FFF2-40B4-BE49-F238E27FC236}">
                <a16:creationId xmlns:a16="http://schemas.microsoft.com/office/drawing/2014/main" id="{6EBABABA-BABF-4B88-8988-60FDCA4CFADB}"/>
              </a:ext>
            </a:extLst>
          </p:cNvPr>
          <p:cNvSpPr/>
          <p:nvPr/>
        </p:nvSpPr>
        <p:spPr>
          <a:xfrm>
            <a:off x="6322805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74" name="object 30">
            <a:extLst>
              <a:ext uri="{FF2B5EF4-FFF2-40B4-BE49-F238E27FC236}">
                <a16:creationId xmlns:a16="http://schemas.microsoft.com/office/drawing/2014/main" id="{CBD144BE-F61D-4D3C-A90A-6A84B191FD41}"/>
              </a:ext>
            </a:extLst>
          </p:cNvPr>
          <p:cNvSpPr/>
          <p:nvPr/>
        </p:nvSpPr>
        <p:spPr>
          <a:xfrm>
            <a:off x="6513212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75" name="object 31">
            <a:extLst>
              <a:ext uri="{FF2B5EF4-FFF2-40B4-BE49-F238E27FC236}">
                <a16:creationId xmlns:a16="http://schemas.microsoft.com/office/drawing/2014/main" id="{122CDBAB-0F74-4A07-BF2E-A4608789E69E}"/>
              </a:ext>
            </a:extLst>
          </p:cNvPr>
          <p:cNvSpPr/>
          <p:nvPr/>
        </p:nvSpPr>
        <p:spPr>
          <a:xfrm>
            <a:off x="6703597" y="3739791"/>
            <a:ext cx="0" cy="32040"/>
          </a:xfrm>
          <a:custGeom>
            <a:avLst/>
            <a:gdLst/>
            <a:ahLst/>
            <a:cxnLst/>
            <a:rect l="l" t="t" r="r" b="b"/>
            <a:pathLst>
              <a:path h="36195">
                <a:moveTo>
                  <a:pt x="0" y="0"/>
                </a:moveTo>
                <a:lnTo>
                  <a:pt x="0" y="3600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76" name="object 32">
            <a:extLst>
              <a:ext uri="{FF2B5EF4-FFF2-40B4-BE49-F238E27FC236}">
                <a16:creationId xmlns:a16="http://schemas.microsoft.com/office/drawing/2014/main" id="{9CC08491-0E6F-477D-83E5-DE085355FC17}"/>
              </a:ext>
            </a:extLst>
          </p:cNvPr>
          <p:cNvSpPr/>
          <p:nvPr/>
        </p:nvSpPr>
        <p:spPr>
          <a:xfrm>
            <a:off x="3992689" y="2338510"/>
            <a:ext cx="2740810" cy="1401338"/>
          </a:xfrm>
          <a:custGeom>
            <a:avLst/>
            <a:gdLst/>
            <a:ahLst/>
            <a:cxnLst/>
            <a:rect l="l" t="t" r="r" b="b"/>
            <a:pathLst>
              <a:path w="3301365" h="1583054">
                <a:moveTo>
                  <a:pt x="3301352" y="1583004"/>
                </a:moveTo>
                <a:lnTo>
                  <a:pt x="0" y="1583004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77" name="object 33">
            <a:extLst>
              <a:ext uri="{FF2B5EF4-FFF2-40B4-BE49-F238E27FC236}">
                <a16:creationId xmlns:a16="http://schemas.microsoft.com/office/drawing/2014/main" id="{9B8F2456-C9F4-4500-A9C8-D0363E11C863}"/>
              </a:ext>
            </a:extLst>
          </p:cNvPr>
          <p:cNvSpPr/>
          <p:nvPr/>
        </p:nvSpPr>
        <p:spPr>
          <a:xfrm>
            <a:off x="4038037" y="2370369"/>
            <a:ext cx="2615868" cy="829111"/>
          </a:xfrm>
          <a:custGeom>
            <a:avLst/>
            <a:gdLst/>
            <a:ahLst/>
            <a:cxnLst/>
            <a:rect l="l" t="t" r="r" b="b"/>
            <a:pathLst>
              <a:path w="3150870" h="936625">
                <a:moveTo>
                  <a:pt x="0" y="0"/>
                </a:moveTo>
                <a:lnTo>
                  <a:pt x="29591" y="0"/>
                </a:lnTo>
                <a:lnTo>
                  <a:pt x="29591" y="26847"/>
                </a:lnTo>
                <a:lnTo>
                  <a:pt x="32283" y="26847"/>
                </a:lnTo>
                <a:lnTo>
                  <a:pt x="32283" y="52298"/>
                </a:lnTo>
                <a:lnTo>
                  <a:pt x="47078" y="52298"/>
                </a:lnTo>
                <a:lnTo>
                  <a:pt x="47078" y="79311"/>
                </a:lnTo>
                <a:lnTo>
                  <a:pt x="52451" y="79311"/>
                </a:lnTo>
                <a:lnTo>
                  <a:pt x="52451" y="104749"/>
                </a:lnTo>
                <a:lnTo>
                  <a:pt x="68605" y="104749"/>
                </a:lnTo>
                <a:lnTo>
                  <a:pt x="68605" y="131584"/>
                </a:lnTo>
                <a:lnTo>
                  <a:pt x="82054" y="131584"/>
                </a:lnTo>
                <a:lnTo>
                  <a:pt x="82054" y="158419"/>
                </a:lnTo>
                <a:lnTo>
                  <a:pt x="87439" y="158419"/>
                </a:lnTo>
                <a:lnTo>
                  <a:pt x="87439" y="185293"/>
                </a:lnTo>
                <a:lnTo>
                  <a:pt x="94170" y="185293"/>
                </a:lnTo>
                <a:lnTo>
                  <a:pt x="94170" y="212128"/>
                </a:lnTo>
                <a:lnTo>
                  <a:pt x="96850" y="212128"/>
                </a:lnTo>
                <a:lnTo>
                  <a:pt x="96850" y="239026"/>
                </a:lnTo>
                <a:lnTo>
                  <a:pt x="106273" y="239026"/>
                </a:lnTo>
                <a:lnTo>
                  <a:pt x="106273" y="265988"/>
                </a:lnTo>
                <a:lnTo>
                  <a:pt x="135877" y="265988"/>
                </a:lnTo>
                <a:lnTo>
                  <a:pt x="135877" y="294271"/>
                </a:lnTo>
                <a:lnTo>
                  <a:pt x="157391" y="294271"/>
                </a:lnTo>
                <a:lnTo>
                  <a:pt x="157391" y="321119"/>
                </a:lnTo>
                <a:lnTo>
                  <a:pt x="160083" y="321119"/>
                </a:lnTo>
                <a:lnTo>
                  <a:pt x="160083" y="349427"/>
                </a:lnTo>
                <a:lnTo>
                  <a:pt x="169494" y="349427"/>
                </a:lnTo>
                <a:lnTo>
                  <a:pt x="169494" y="376262"/>
                </a:lnTo>
                <a:lnTo>
                  <a:pt x="172186" y="376262"/>
                </a:lnTo>
                <a:lnTo>
                  <a:pt x="172186" y="403136"/>
                </a:lnTo>
                <a:lnTo>
                  <a:pt x="177571" y="403136"/>
                </a:lnTo>
                <a:lnTo>
                  <a:pt x="177571" y="431393"/>
                </a:lnTo>
                <a:lnTo>
                  <a:pt x="203263" y="431393"/>
                </a:lnTo>
                <a:lnTo>
                  <a:pt x="203263" y="458343"/>
                </a:lnTo>
                <a:lnTo>
                  <a:pt x="257047" y="458343"/>
                </a:lnTo>
                <a:lnTo>
                  <a:pt x="257047" y="486676"/>
                </a:lnTo>
                <a:lnTo>
                  <a:pt x="305473" y="486676"/>
                </a:lnTo>
                <a:lnTo>
                  <a:pt x="305473" y="514946"/>
                </a:lnTo>
                <a:lnTo>
                  <a:pt x="345871" y="514946"/>
                </a:lnTo>
                <a:lnTo>
                  <a:pt x="345871" y="544614"/>
                </a:lnTo>
                <a:lnTo>
                  <a:pt x="359295" y="544614"/>
                </a:lnTo>
                <a:lnTo>
                  <a:pt x="359295" y="572884"/>
                </a:lnTo>
                <a:lnTo>
                  <a:pt x="360654" y="572884"/>
                </a:lnTo>
                <a:lnTo>
                  <a:pt x="360654" y="602564"/>
                </a:lnTo>
                <a:lnTo>
                  <a:pt x="491147" y="602564"/>
                </a:lnTo>
                <a:lnTo>
                  <a:pt x="491147" y="632358"/>
                </a:lnTo>
                <a:lnTo>
                  <a:pt x="495185" y="632358"/>
                </a:lnTo>
                <a:lnTo>
                  <a:pt x="495185" y="662038"/>
                </a:lnTo>
                <a:lnTo>
                  <a:pt x="536879" y="662038"/>
                </a:lnTo>
                <a:lnTo>
                  <a:pt x="536879" y="691705"/>
                </a:lnTo>
                <a:lnTo>
                  <a:pt x="544957" y="691705"/>
                </a:lnTo>
                <a:lnTo>
                  <a:pt x="544957" y="721398"/>
                </a:lnTo>
                <a:lnTo>
                  <a:pt x="750900" y="721398"/>
                </a:lnTo>
                <a:lnTo>
                  <a:pt x="750900" y="751065"/>
                </a:lnTo>
                <a:lnTo>
                  <a:pt x="765683" y="751065"/>
                </a:lnTo>
                <a:lnTo>
                  <a:pt x="765683" y="780770"/>
                </a:lnTo>
                <a:lnTo>
                  <a:pt x="811479" y="780770"/>
                </a:lnTo>
                <a:lnTo>
                  <a:pt x="811479" y="811834"/>
                </a:lnTo>
                <a:lnTo>
                  <a:pt x="975677" y="811834"/>
                </a:lnTo>
                <a:lnTo>
                  <a:pt x="975677" y="841705"/>
                </a:lnTo>
                <a:lnTo>
                  <a:pt x="1021410" y="841705"/>
                </a:lnTo>
                <a:lnTo>
                  <a:pt x="1021410" y="871385"/>
                </a:lnTo>
                <a:lnTo>
                  <a:pt x="1439938" y="871385"/>
                </a:lnTo>
                <a:lnTo>
                  <a:pt x="1439938" y="903897"/>
                </a:lnTo>
                <a:lnTo>
                  <a:pt x="1507185" y="903897"/>
                </a:lnTo>
                <a:lnTo>
                  <a:pt x="1507185" y="936396"/>
                </a:lnTo>
                <a:lnTo>
                  <a:pt x="3150387" y="936396"/>
                </a:lnTo>
              </a:path>
            </a:pathLst>
          </a:custGeom>
          <a:ln w="15875">
            <a:solidFill>
              <a:schemeClr val="accent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78" name="object 34">
            <a:extLst>
              <a:ext uri="{FF2B5EF4-FFF2-40B4-BE49-F238E27FC236}">
                <a16:creationId xmlns:a16="http://schemas.microsoft.com/office/drawing/2014/main" id="{765F10F6-92DC-4AF0-913E-0604084792E4}"/>
              </a:ext>
            </a:extLst>
          </p:cNvPr>
          <p:cNvSpPr/>
          <p:nvPr/>
        </p:nvSpPr>
        <p:spPr>
          <a:xfrm>
            <a:off x="4083565" y="2468052"/>
            <a:ext cx="54300" cy="131534"/>
          </a:xfrm>
          <a:custGeom>
            <a:avLst/>
            <a:gdLst/>
            <a:ahLst/>
            <a:cxnLst/>
            <a:rect l="l" t="t" r="r" b="b"/>
            <a:pathLst>
              <a:path w="65404" h="148589">
                <a:moveTo>
                  <a:pt x="41008" y="20510"/>
                </a:moveTo>
                <a:lnTo>
                  <a:pt x="39395" y="12534"/>
                </a:lnTo>
                <a:lnTo>
                  <a:pt x="35001" y="6007"/>
                </a:lnTo>
                <a:lnTo>
                  <a:pt x="28473" y="1612"/>
                </a:lnTo>
                <a:lnTo>
                  <a:pt x="20497" y="0"/>
                </a:lnTo>
                <a:lnTo>
                  <a:pt x="12509" y="1612"/>
                </a:lnTo>
                <a:lnTo>
                  <a:pt x="5994" y="6007"/>
                </a:lnTo>
                <a:lnTo>
                  <a:pt x="1600" y="12534"/>
                </a:lnTo>
                <a:lnTo>
                  <a:pt x="0" y="20510"/>
                </a:lnTo>
                <a:lnTo>
                  <a:pt x="1600" y="28498"/>
                </a:lnTo>
                <a:lnTo>
                  <a:pt x="5994" y="35013"/>
                </a:lnTo>
                <a:lnTo>
                  <a:pt x="12509" y="39420"/>
                </a:lnTo>
                <a:lnTo>
                  <a:pt x="20497" y="41021"/>
                </a:lnTo>
                <a:lnTo>
                  <a:pt x="28473" y="39420"/>
                </a:lnTo>
                <a:lnTo>
                  <a:pt x="35001" y="35013"/>
                </a:lnTo>
                <a:lnTo>
                  <a:pt x="39395" y="28498"/>
                </a:lnTo>
                <a:lnTo>
                  <a:pt x="41008" y="20510"/>
                </a:lnTo>
                <a:close/>
              </a:path>
              <a:path w="65404" h="148589">
                <a:moveTo>
                  <a:pt x="65214" y="128016"/>
                </a:moveTo>
                <a:lnTo>
                  <a:pt x="63601" y="120040"/>
                </a:lnTo>
                <a:lnTo>
                  <a:pt x="59207" y="113525"/>
                </a:lnTo>
                <a:lnTo>
                  <a:pt x="52679" y="109131"/>
                </a:lnTo>
                <a:lnTo>
                  <a:pt x="44704" y="107518"/>
                </a:lnTo>
                <a:lnTo>
                  <a:pt x="36715" y="109131"/>
                </a:lnTo>
                <a:lnTo>
                  <a:pt x="30200" y="113525"/>
                </a:lnTo>
                <a:lnTo>
                  <a:pt x="25806" y="120040"/>
                </a:lnTo>
                <a:lnTo>
                  <a:pt x="24206" y="128016"/>
                </a:lnTo>
                <a:lnTo>
                  <a:pt x="25806" y="136017"/>
                </a:lnTo>
                <a:lnTo>
                  <a:pt x="30200" y="142532"/>
                </a:lnTo>
                <a:lnTo>
                  <a:pt x="36715" y="146926"/>
                </a:lnTo>
                <a:lnTo>
                  <a:pt x="44704" y="148526"/>
                </a:lnTo>
                <a:lnTo>
                  <a:pt x="52679" y="146926"/>
                </a:lnTo>
                <a:lnTo>
                  <a:pt x="59207" y="142532"/>
                </a:lnTo>
                <a:lnTo>
                  <a:pt x="63601" y="136017"/>
                </a:lnTo>
                <a:lnTo>
                  <a:pt x="65214" y="12801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 sz="1600">
              <a:ea typeface="Microsoft YaHei" panose="020B0503020204020204" pitchFamily="34" charset="-122"/>
            </a:endParaRPr>
          </a:p>
        </p:txBody>
      </p:sp>
      <p:sp>
        <p:nvSpPr>
          <p:cNvPr id="279" name="object 36">
            <a:extLst>
              <a:ext uri="{FF2B5EF4-FFF2-40B4-BE49-F238E27FC236}">
                <a16:creationId xmlns:a16="http://schemas.microsoft.com/office/drawing/2014/main" id="{BC99E482-C7A6-4682-B69B-01ACB87706C0}"/>
              </a:ext>
            </a:extLst>
          </p:cNvPr>
          <p:cNvSpPr/>
          <p:nvPr/>
        </p:nvSpPr>
        <p:spPr>
          <a:xfrm>
            <a:off x="4369560" y="2883687"/>
            <a:ext cx="2302197" cy="333331"/>
          </a:xfrm>
          <a:custGeom>
            <a:avLst/>
            <a:gdLst/>
            <a:ahLst/>
            <a:cxnLst/>
            <a:rect l="l" t="t" r="r" b="b"/>
            <a:pathLst>
              <a:path w="2773045" h="376554">
                <a:moveTo>
                  <a:pt x="41008" y="20510"/>
                </a:moveTo>
                <a:lnTo>
                  <a:pt x="39395" y="12534"/>
                </a:lnTo>
                <a:lnTo>
                  <a:pt x="35001" y="6007"/>
                </a:lnTo>
                <a:lnTo>
                  <a:pt x="28473" y="1612"/>
                </a:lnTo>
                <a:lnTo>
                  <a:pt x="20497" y="0"/>
                </a:lnTo>
                <a:lnTo>
                  <a:pt x="12509" y="1612"/>
                </a:lnTo>
                <a:lnTo>
                  <a:pt x="5994" y="6007"/>
                </a:lnTo>
                <a:lnTo>
                  <a:pt x="1600" y="12534"/>
                </a:lnTo>
                <a:lnTo>
                  <a:pt x="0" y="20510"/>
                </a:lnTo>
                <a:lnTo>
                  <a:pt x="1600" y="28498"/>
                </a:lnTo>
                <a:lnTo>
                  <a:pt x="5994" y="35013"/>
                </a:lnTo>
                <a:lnTo>
                  <a:pt x="12509" y="39420"/>
                </a:lnTo>
                <a:lnTo>
                  <a:pt x="20497" y="41021"/>
                </a:lnTo>
                <a:lnTo>
                  <a:pt x="28473" y="39420"/>
                </a:lnTo>
                <a:lnTo>
                  <a:pt x="35001" y="35013"/>
                </a:lnTo>
                <a:lnTo>
                  <a:pt x="39395" y="28498"/>
                </a:lnTo>
                <a:lnTo>
                  <a:pt x="41008" y="20510"/>
                </a:lnTo>
                <a:close/>
              </a:path>
              <a:path w="2773045" h="376554">
                <a:moveTo>
                  <a:pt x="680288" y="289382"/>
                </a:moveTo>
                <a:lnTo>
                  <a:pt x="678675" y="281406"/>
                </a:lnTo>
                <a:lnTo>
                  <a:pt x="674281" y="274878"/>
                </a:lnTo>
                <a:lnTo>
                  <a:pt x="667753" y="270484"/>
                </a:lnTo>
                <a:lnTo>
                  <a:pt x="659777" y="268871"/>
                </a:lnTo>
                <a:lnTo>
                  <a:pt x="651789" y="270484"/>
                </a:lnTo>
                <a:lnTo>
                  <a:pt x="645274" y="274878"/>
                </a:lnTo>
                <a:lnTo>
                  <a:pt x="640867" y="281406"/>
                </a:lnTo>
                <a:lnTo>
                  <a:pt x="639267" y="289382"/>
                </a:lnTo>
                <a:lnTo>
                  <a:pt x="640867" y="297370"/>
                </a:lnTo>
                <a:lnTo>
                  <a:pt x="645274" y="303885"/>
                </a:lnTo>
                <a:lnTo>
                  <a:pt x="651789" y="308292"/>
                </a:lnTo>
                <a:lnTo>
                  <a:pt x="659777" y="309892"/>
                </a:lnTo>
                <a:lnTo>
                  <a:pt x="667753" y="308292"/>
                </a:lnTo>
                <a:lnTo>
                  <a:pt x="674281" y="303885"/>
                </a:lnTo>
                <a:lnTo>
                  <a:pt x="678675" y="297370"/>
                </a:lnTo>
                <a:lnTo>
                  <a:pt x="680288" y="289382"/>
                </a:lnTo>
                <a:close/>
              </a:path>
              <a:path w="2773045" h="376554">
                <a:moveTo>
                  <a:pt x="774446" y="289382"/>
                </a:moveTo>
                <a:lnTo>
                  <a:pt x="772833" y="281406"/>
                </a:lnTo>
                <a:lnTo>
                  <a:pt x="768438" y="274878"/>
                </a:lnTo>
                <a:lnTo>
                  <a:pt x="761911" y="270484"/>
                </a:lnTo>
                <a:lnTo>
                  <a:pt x="753935" y="268871"/>
                </a:lnTo>
                <a:lnTo>
                  <a:pt x="745947" y="270484"/>
                </a:lnTo>
                <a:lnTo>
                  <a:pt x="739432" y="274878"/>
                </a:lnTo>
                <a:lnTo>
                  <a:pt x="735037" y="281406"/>
                </a:lnTo>
                <a:lnTo>
                  <a:pt x="733437" y="289382"/>
                </a:lnTo>
                <a:lnTo>
                  <a:pt x="735037" y="297370"/>
                </a:lnTo>
                <a:lnTo>
                  <a:pt x="739432" y="303885"/>
                </a:lnTo>
                <a:lnTo>
                  <a:pt x="745947" y="308292"/>
                </a:lnTo>
                <a:lnTo>
                  <a:pt x="753935" y="309892"/>
                </a:lnTo>
                <a:lnTo>
                  <a:pt x="761911" y="308292"/>
                </a:lnTo>
                <a:lnTo>
                  <a:pt x="768438" y="303885"/>
                </a:lnTo>
                <a:lnTo>
                  <a:pt x="772833" y="297370"/>
                </a:lnTo>
                <a:lnTo>
                  <a:pt x="774446" y="289382"/>
                </a:lnTo>
                <a:close/>
              </a:path>
              <a:path w="2773045" h="376554">
                <a:moveTo>
                  <a:pt x="2261463" y="355815"/>
                </a:moveTo>
                <a:lnTo>
                  <a:pt x="2259850" y="347840"/>
                </a:lnTo>
                <a:lnTo>
                  <a:pt x="2255456" y="341325"/>
                </a:lnTo>
                <a:lnTo>
                  <a:pt x="2248928" y="336931"/>
                </a:lnTo>
                <a:lnTo>
                  <a:pt x="2240953" y="335305"/>
                </a:lnTo>
                <a:lnTo>
                  <a:pt x="2232964" y="336931"/>
                </a:lnTo>
                <a:lnTo>
                  <a:pt x="2226449" y="341325"/>
                </a:lnTo>
                <a:lnTo>
                  <a:pt x="2222042" y="347840"/>
                </a:lnTo>
                <a:lnTo>
                  <a:pt x="2220442" y="355815"/>
                </a:lnTo>
                <a:lnTo>
                  <a:pt x="2222042" y="363804"/>
                </a:lnTo>
                <a:lnTo>
                  <a:pt x="2226449" y="370332"/>
                </a:lnTo>
                <a:lnTo>
                  <a:pt x="2232964" y="374726"/>
                </a:lnTo>
                <a:lnTo>
                  <a:pt x="2240953" y="376339"/>
                </a:lnTo>
                <a:lnTo>
                  <a:pt x="2248928" y="374726"/>
                </a:lnTo>
                <a:lnTo>
                  <a:pt x="2255456" y="370332"/>
                </a:lnTo>
                <a:lnTo>
                  <a:pt x="2259850" y="363804"/>
                </a:lnTo>
                <a:lnTo>
                  <a:pt x="2261463" y="355815"/>
                </a:lnTo>
                <a:close/>
              </a:path>
              <a:path w="2773045" h="376554">
                <a:moveTo>
                  <a:pt x="2514523" y="355815"/>
                </a:moveTo>
                <a:lnTo>
                  <a:pt x="2512911" y="347840"/>
                </a:lnTo>
                <a:lnTo>
                  <a:pt x="2508504" y="341325"/>
                </a:lnTo>
                <a:lnTo>
                  <a:pt x="2501989" y="336931"/>
                </a:lnTo>
                <a:lnTo>
                  <a:pt x="2494000" y="335305"/>
                </a:lnTo>
                <a:lnTo>
                  <a:pt x="2491981" y="335724"/>
                </a:lnTo>
                <a:lnTo>
                  <a:pt x="2489974" y="335305"/>
                </a:lnTo>
                <a:lnTo>
                  <a:pt x="2485237" y="336270"/>
                </a:lnTo>
                <a:lnTo>
                  <a:pt x="2480526" y="335305"/>
                </a:lnTo>
                <a:lnTo>
                  <a:pt x="2479840" y="335445"/>
                </a:lnTo>
                <a:lnTo>
                  <a:pt x="2479167" y="335305"/>
                </a:lnTo>
                <a:lnTo>
                  <a:pt x="2473134" y="336537"/>
                </a:lnTo>
                <a:lnTo>
                  <a:pt x="2467114" y="335305"/>
                </a:lnTo>
                <a:lnTo>
                  <a:pt x="2459126" y="336931"/>
                </a:lnTo>
                <a:lnTo>
                  <a:pt x="2457678" y="337908"/>
                </a:lnTo>
                <a:lnTo>
                  <a:pt x="2456230" y="336931"/>
                </a:lnTo>
                <a:lnTo>
                  <a:pt x="2448255" y="335305"/>
                </a:lnTo>
                <a:lnTo>
                  <a:pt x="2440267" y="336931"/>
                </a:lnTo>
                <a:lnTo>
                  <a:pt x="2435466" y="340169"/>
                </a:lnTo>
                <a:lnTo>
                  <a:pt x="2430678" y="336931"/>
                </a:lnTo>
                <a:lnTo>
                  <a:pt x="2422702" y="335305"/>
                </a:lnTo>
                <a:lnTo>
                  <a:pt x="2414714" y="336931"/>
                </a:lnTo>
                <a:lnTo>
                  <a:pt x="2408199" y="341325"/>
                </a:lnTo>
                <a:lnTo>
                  <a:pt x="2405888" y="344741"/>
                </a:lnTo>
                <a:lnTo>
                  <a:pt x="2403589" y="341325"/>
                </a:lnTo>
                <a:lnTo>
                  <a:pt x="2397061" y="336931"/>
                </a:lnTo>
                <a:lnTo>
                  <a:pt x="2389086" y="335305"/>
                </a:lnTo>
                <a:lnTo>
                  <a:pt x="2381097" y="336931"/>
                </a:lnTo>
                <a:lnTo>
                  <a:pt x="2376297" y="340169"/>
                </a:lnTo>
                <a:lnTo>
                  <a:pt x="2371509" y="336931"/>
                </a:lnTo>
                <a:lnTo>
                  <a:pt x="2363533" y="335305"/>
                </a:lnTo>
                <a:lnTo>
                  <a:pt x="2355532" y="336931"/>
                </a:lnTo>
                <a:lnTo>
                  <a:pt x="2349017" y="341325"/>
                </a:lnTo>
                <a:lnTo>
                  <a:pt x="2345956" y="345859"/>
                </a:lnTo>
                <a:lnTo>
                  <a:pt x="2342908" y="341325"/>
                </a:lnTo>
                <a:lnTo>
                  <a:pt x="2336381" y="336931"/>
                </a:lnTo>
                <a:lnTo>
                  <a:pt x="2328405" y="335305"/>
                </a:lnTo>
                <a:lnTo>
                  <a:pt x="2326386" y="335724"/>
                </a:lnTo>
                <a:lnTo>
                  <a:pt x="2324379" y="335305"/>
                </a:lnTo>
                <a:lnTo>
                  <a:pt x="2316378" y="336931"/>
                </a:lnTo>
                <a:lnTo>
                  <a:pt x="2309863" y="341325"/>
                </a:lnTo>
                <a:lnTo>
                  <a:pt x="2305469" y="347840"/>
                </a:lnTo>
                <a:lnTo>
                  <a:pt x="2303869" y="355815"/>
                </a:lnTo>
                <a:lnTo>
                  <a:pt x="2305469" y="363804"/>
                </a:lnTo>
                <a:lnTo>
                  <a:pt x="2309863" y="370332"/>
                </a:lnTo>
                <a:lnTo>
                  <a:pt x="2316378" y="374726"/>
                </a:lnTo>
                <a:lnTo>
                  <a:pt x="2324379" y="376339"/>
                </a:lnTo>
                <a:lnTo>
                  <a:pt x="2326386" y="375932"/>
                </a:lnTo>
                <a:lnTo>
                  <a:pt x="2328405" y="376339"/>
                </a:lnTo>
                <a:lnTo>
                  <a:pt x="2336381" y="374726"/>
                </a:lnTo>
                <a:lnTo>
                  <a:pt x="2342908" y="370332"/>
                </a:lnTo>
                <a:lnTo>
                  <a:pt x="2345956" y="365798"/>
                </a:lnTo>
                <a:lnTo>
                  <a:pt x="2349017" y="370332"/>
                </a:lnTo>
                <a:lnTo>
                  <a:pt x="2355532" y="374726"/>
                </a:lnTo>
                <a:lnTo>
                  <a:pt x="2363533" y="376339"/>
                </a:lnTo>
                <a:lnTo>
                  <a:pt x="2371509" y="374726"/>
                </a:lnTo>
                <a:lnTo>
                  <a:pt x="2376297" y="371500"/>
                </a:lnTo>
                <a:lnTo>
                  <a:pt x="2381097" y="374726"/>
                </a:lnTo>
                <a:lnTo>
                  <a:pt x="2389086" y="376339"/>
                </a:lnTo>
                <a:lnTo>
                  <a:pt x="2397061" y="374726"/>
                </a:lnTo>
                <a:lnTo>
                  <a:pt x="2403589" y="370332"/>
                </a:lnTo>
                <a:lnTo>
                  <a:pt x="2405888" y="366915"/>
                </a:lnTo>
                <a:lnTo>
                  <a:pt x="2408199" y="370332"/>
                </a:lnTo>
                <a:lnTo>
                  <a:pt x="2414714" y="374726"/>
                </a:lnTo>
                <a:lnTo>
                  <a:pt x="2422702" y="376339"/>
                </a:lnTo>
                <a:lnTo>
                  <a:pt x="2430678" y="374726"/>
                </a:lnTo>
                <a:lnTo>
                  <a:pt x="2435466" y="371500"/>
                </a:lnTo>
                <a:lnTo>
                  <a:pt x="2440267" y="374726"/>
                </a:lnTo>
                <a:lnTo>
                  <a:pt x="2448255" y="376339"/>
                </a:lnTo>
                <a:lnTo>
                  <a:pt x="2456230" y="374726"/>
                </a:lnTo>
                <a:lnTo>
                  <a:pt x="2457678" y="373761"/>
                </a:lnTo>
                <a:lnTo>
                  <a:pt x="2459126" y="374726"/>
                </a:lnTo>
                <a:lnTo>
                  <a:pt x="2467114" y="376339"/>
                </a:lnTo>
                <a:lnTo>
                  <a:pt x="2473134" y="375132"/>
                </a:lnTo>
                <a:lnTo>
                  <a:pt x="2479167" y="376339"/>
                </a:lnTo>
                <a:lnTo>
                  <a:pt x="2479840" y="376212"/>
                </a:lnTo>
                <a:lnTo>
                  <a:pt x="2480526" y="376339"/>
                </a:lnTo>
                <a:lnTo>
                  <a:pt x="2485237" y="375386"/>
                </a:lnTo>
                <a:lnTo>
                  <a:pt x="2489974" y="376339"/>
                </a:lnTo>
                <a:lnTo>
                  <a:pt x="2491981" y="375932"/>
                </a:lnTo>
                <a:lnTo>
                  <a:pt x="2494000" y="376339"/>
                </a:lnTo>
                <a:lnTo>
                  <a:pt x="2501989" y="374726"/>
                </a:lnTo>
                <a:lnTo>
                  <a:pt x="2508504" y="370332"/>
                </a:lnTo>
                <a:lnTo>
                  <a:pt x="2512911" y="363804"/>
                </a:lnTo>
                <a:lnTo>
                  <a:pt x="2514523" y="355815"/>
                </a:lnTo>
                <a:close/>
              </a:path>
              <a:path w="2773045" h="376554">
                <a:moveTo>
                  <a:pt x="2599220" y="355815"/>
                </a:moveTo>
                <a:lnTo>
                  <a:pt x="2597620" y="347840"/>
                </a:lnTo>
                <a:lnTo>
                  <a:pt x="2593225" y="341325"/>
                </a:lnTo>
                <a:lnTo>
                  <a:pt x="2586710" y="336931"/>
                </a:lnTo>
                <a:lnTo>
                  <a:pt x="2578722" y="335305"/>
                </a:lnTo>
                <a:lnTo>
                  <a:pt x="2574010" y="336270"/>
                </a:lnTo>
                <a:lnTo>
                  <a:pt x="2569311" y="335305"/>
                </a:lnTo>
                <a:lnTo>
                  <a:pt x="2565273" y="336130"/>
                </a:lnTo>
                <a:lnTo>
                  <a:pt x="2561234" y="335305"/>
                </a:lnTo>
                <a:lnTo>
                  <a:pt x="2553258" y="336931"/>
                </a:lnTo>
                <a:lnTo>
                  <a:pt x="2546743" y="341325"/>
                </a:lnTo>
                <a:lnTo>
                  <a:pt x="2542349" y="347840"/>
                </a:lnTo>
                <a:lnTo>
                  <a:pt x="2540736" y="355815"/>
                </a:lnTo>
                <a:lnTo>
                  <a:pt x="2542349" y="363804"/>
                </a:lnTo>
                <a:lnTo>
                  <a:pt x="2546743" y="370332"/>
                </a:lnTo>
                <a:lnTo>
                  <a:pt x="2553258" y="374726"/>
                </a:lnTo>
                <a:lnTo>
                  <a:pt x="2561234" y="376339"/>
                </a:lnTo>
                <a:lnTo>
                  <a:pt x="2565273" y="375526"/>
                </a:lnTo>
                <a:lnTo>
                  <a:pt x="2569311" y="376339"/>
                </a:lnTo>
                <a:lnTo>
                  <a:pt x="2574010" y="375399"/>
                </a:lnTo>
                <a:lnTo>
                  <a:pt x="2578722" y="376339"/>
                </a:lnTo>
                <a:lnTo>
                  <a:pt x="2586710" y="374726"/>
                </a:lnTo>
                <a:lnTo>
                  <a:pt x="2593225" y="370332"/>
                </a:lnTo>
                <a:lnTo>
                  <a:pt x="2597620" y="363804"/>
                </a:lnTo>
                <a:lnTo>
                  <a:pt x="2599220" y="355815"/>
                </a:lnTo>
                <a:close/>
              </a:path>
              <a:path w="2773045" h="376554">
                <a:moveTo>
                  <a:pt x="2649029" y="355815"/>
                </a:moveTo>
                <a:lnTo>
                  <a:pt x="2647404" y="347840"/>
                </a:lnTo>
                <a:lnTo>
                  <a:pt x="2643009" y="341325"/>
                </a:lnTo>
                <a:lnTo>
                  <a:pt x="2636494" y="336931"/>
                </a:lnTo>
                <a:lnTo>
                  <a:pt x="2628519" y="335305"/>
                </a:lnTo>
                <a:lnTo>
                  <a:pt x="2620530" y="336931"/>
                </a:lnTo>
                <a:lnTo>
                  <a:pt x="2614015" y="341325"/>
                </a:lnTo>
                <a:lnTo>
                  <a:pt x="2609608" y="347840"/>
                </a:lnTo>
                <a:lnTo>
                  <a:pt x="2608008" y="355815"/>
                </a:lnTo>
                <a:lnTo>
                  <a:pt x="2609608" y="363804"/>
                </a:lnTo>
                <a:lnTo>
                  <a:pt x="2614015" y="370332"/>
                </a:lnTo>
                <a:lnTo>
                  <a:pt x="2620530" y="374726"/>
                </a:lnTo>
                <a:lnTo>
                  <a:pt x="2628519" y="376339"/>
                </a:lnTo>
                <a:lnTo>
                  <a:pt x="2636494" y="374726"/>
                </a:lnTo>
                <a:lnTo>
                  <a:pt x="2643009" y="370332"/>
                </a:lnTo>
                <a:lnTo>
                  <a:pt x="2647404" y="363804"/>
                </a:lnTo>
                <a:lnTo>
                  <a:pt x="2649029" y="355815"/>
                </a:lnTo>
                <a:close/>
              </a:path>
              <a:path w="2773045" h="376554">
                <a:moveTo>
                  <a:pt x="2692095" y="355815"/>
                </a:moveTo>
                <a:lnTo>
                  <a:pt x="2690469" y="347840"/>
                </a:lnTo>
                <a:lnTo>
                  <a:pt x="2686075" y="341325"/>
                </a:lnTo>
                <a:lnTo>
                  <a:pt x="2679560" y="336931"/>
                </a:lnTo>
                <a:lnTo>
                  <a:pt x="2671584" y="335305"/>
                </a:lnTo>
                <a:lnTo>
                  <a:pt x="2663583" y="336931"/>
                </a:lnTo>
                <a:lnTo>
                  <a:pt x="2657068" y="341325"/>
                </a:lnTo>
                <a:lnTo>
                  <a:pt x="2652674" y="347840"/>
                </a:lnTo>
                <a:lnTo>
                  <a:pt x="2651074" y="355815"/>
                </a:lnTo>
                <a:lnTo>
                  <a:pt x="2652674" y="363804"/>
                </a:lnTo>
                <a:lnTo>
                  <a:pt x="2657068" y="370332"/>
                </a:lnTo>
                <a:lnTo>
                  <a:pt x="2663583" y="374726"/>
                </a:lnTo>
                <a:lnTo>
                  <a:pt x="2671584" y="376339"/>
                </a:lnTo>
                <a:lnTo>
                  <a:pt x="2679560" y="374726"/>
                </a:lnTo>
                <a:lnTo>
                  <a:pt x="2686075" y="370332"/>
                </a:lnTo>
                <a:lnTo>
                  <a:pt x="2690469" y="363804"/>
                </a:lnTo>
                <a:lnTo>
                  <a:pt x="2692095" y="355815"/>
                </a:lnTo>
                <a:close/>
              </a:path>
              <a:path w="2773045" h="376554">
                <a:moveTo>
                  <a:pt x="2772930" y="355815"/>
                </a:moveTo>
                <a:lnTo>
                  <a:pt x="2771305" y="347840"/>
                </a:lnTo>
                <a:lnTo>
                  <a:pt x="2766911" y="341325"/>
                </a:lnTo>
                <a:lnTo>
                  <a:pt x="2760395" y="336931"/>
                </a:lnTo>
                <a:lnTo>
                  <a:pt x="2752420" y="335305"/>
                </a:lnTo>
                <a:lnTo>
                  <a:pt x="2744432" y="336931"/>
                </a:lnTo>
                <a:lnTo>
                  <a:pt x="2737916" y="341325"/>
                </a:lnTo>
                <a:lnTo>
                  <a:pt x="2733510" y="347840"/>
                </a:lnTo>
                <a:lnTo>
                  <a:pt x="2731909" y="355815"/>
                </a:lnTo>
                <a:lnTo>
                  <a:pt x="2733510" y="363804"/>
                </a:lnTo>
                <a:lnTo>
                  <a:pt x="2737916" y="370332"/>
                </a:lnTo>
                <a:lnTo>
                  <a:pt x="2744432" y="374726"/>
                </a:lnTo>
                <a:lnTo>
                  <a:pt x="2752420" y="376339"/>
                </a:lnTo>
                <a:lnTo>
                  <a:pt x="2760395" y="374726"/>
                </a:lnTo>
                <a:lnTo>
                  <a:pt x="2766911" y="370332"/>
                </a:lnTo>
                <a:lnTo>
                  <a:pt x="2771305" y="363804"/>
                </a:lnTo>
                <a:lnTo>
                  <a:pt x="2772930" y="355815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 sz="1600" dirty="0">
              <a:ea typeface="Microsoft YaHei" panose="020B0503020204020204" pitchFamily="34" charset="-122"/>
            </a:endParaRPr>
          </a:p>
        </p:txBody>
      </p:sp>
      <p:sp>
        <p:nvSpPr>
          <p:cNvPr id="280" name="椭圆 173">
            <a:extLst>
              <a:ext uri="{FF2B5EF4-FFF2-40B4-BE49-F238E27FC236}">
                <a16:creationId xmlns:a16="http://schemas.microsoft.com/office/drawing/2014/main" id="{72123B37-ED13-4A1A-A177-BDE3D60D002D}"/>
              </a:ext>
            </a:extLst>
          </p:cNvPr>
          <p:cNvSpPr/>
          <p:nvPr/>
        </p:nvSpPr>
        <p:spPr>
          <a:xfrm>
            <a:off x="4238345" y="2779581"/>
            <a:ext cx="37956" cy="40471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ea typeface="Microsoft YaHei" panose="020B0503020204020204" pitchFamily="34" charset="-122"/>
            </a:endParaRPr>
          </a:p>
        </p:txBody>
      </p:sp>
      <p:sp>
        <p:nvSpPr>
          <p:cNvPr id="281" name="椭圆 174">
            <a:extLst>
              <a:ext uri="{FF2B5EF4-FFF2-40B4-BE49-F238E27FC236}">
                <a16:creationId xmlns:a16="http://schemas.microsoft.com/office/drawing/2014/main" id="{0B61EFD5-450F-4FE1-A218-47226F77D138}"/>
              </a:ext>
            </a:extLst>
          </p:cNvPr>
          <p:cNvSpPr/>
          <p:nvPr/>
        </p:nvSpPr>
        <p:spPr>
          <a:xfrm>
            <a:off x="4199327" y="2747101"/>
            <a:ext cx="37956" cy="40471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ea typeface="Microsoft YaHei" panose="020B0503020204020204" pitchFamily="34" charset="-122"/>
            </a:endParaRPr>
          </a:p>
        </p:txBody>
      </p:sp>
      <p:sp>
        <p:nvSpPr>
          <p:cNvPr id="282" name="object 171">
            <a:extLst>
              <a:ext uri="{FF2B5EF4-FFF2-40B4-BE49-F238E27FC236}">
                <a16:creationId xmlns:a16="http://schemas.microsoft.com/office/drawing/2014/main" id="{76F6B214-C58C-4926-A865-76BED2EC9B33}"/>
              </a:ext>
            </a:extLst>
          </p:cNvPr>
          <p:cNvSpPr txBox="1"/>
          <p:nvPr/>
        </p:nvSpPr>
        <p:spPr>
          <a:xfrm>
            <a:off x="3738058" y="2273065"/>
            <a:ext cx="182137" cy="1342427"/>
          </a:xfrm>
          <a:prstGeom prst="rect">
            <a:avLst/>
          </a:prstGeom>
        </p:spPr>
        <p:txBody>
          <a:bodyPr vert="horz" wrap="square" lIns="0" tIns="50800" rIns="0" bIns="0" rtlCol="0">
            <a:spAutoFit/>
          </a:bodyPr>
          <a:lstStyle/>
          <a:p>
            <a:pPr marR="5080" algn="r">
              <a:lnSpc>
                <a:spcPct val="107000"/>
              </a:lnSpc>
              <a:spcBef>
                <a:spcPts val="400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10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5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9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0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8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5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7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0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6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5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5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0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4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5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3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0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2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5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1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  <a:p>
            <a:pPr marR="5080" algn="r">
              <a:lnSpc>
                <a:spcPct val="107000"/>
              </a:lnSpc>
              <a:spcBef>
                <a:spcPts val="300"/>
              </a:spcBef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84" name="object 173">
            <a:extLst>
              <a:ext uri="{FF2B5EF4-FFF2-40B4-BE49-F238E27FC236}">
                <a16:creationId xmlns:a16="http://schemas.microsoft.com/office/drawing/2014/main" id="{899472BD-F855-4E1B-ACD8-F4436E6FBD77}"/>
              </a:ext>
            </a:extLst>
          </p:cNvPr>
          <p:cNvSpPr txBox="1"/>
          <p:nvPr/>
        </p:nvSpPr>
        <p:spPr>
          <a:xfrm>
            <a:off x="3973994" y="3813178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85" name="object 173">
            <a:extLst>
              <a:ext uri="{FF2B5EF4-FFF2-40B4-BE49-F238E27FC236}">
                <a16:creationId xmlns:a16="http://schemas.microsoft.com/office/drawing/2014/main" id="{216D6CD2-CEC2-4868-9A1B-CA3901D12224}"/>
              </a:ext>
            </a:extLst>
          </p:cNvPr>
          <p:cNvSpPr txBox="1"/>
          <p:nvPr/>
        </p:nvSpPr>
        <p:spPr>
          <a:xfrm>
            <a:off x="4165585" y="3813178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6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86" name="object 173">
            <a:extLst>
              <a:ext uri="{FF2B5EF4-FFF2-40B4-BE49-F238E27FC236}">
                <a16:creationId xmlns:a16="http://schemas.microsoft.com/office/drawing/2014/main" id="{7DE826DD-989D-417D-878F-08DF9DD50FC3}"/>
              </a:ext>
            </a:extLst>
          </p:cNvPr>
          <p:cNvSpPr txBox="1"/>
          <p:nvPr/>
        </p:nvSpPr>
        <p:spPr>
          <a:xfrm>
            <a:off x="4357177" y="3813178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12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87" name="object 173">
            <a:extLst>
              <a:ext uri="{FF2B5EF4-FFF2-40B4-BE49-F238E27FC236}">
                <a16:creationId xmlns:a16="http://schemas.microsoft.com/office/drawing/2014/main" id="{DEC001EE-A6A3-4414-ABC4-02579E240649}"/>
              </a:ext>
            </a:extLst>
          </p:cNvPr>
          <p:cNvSpPr txBox="1"/>
          <p:nvPr/>
        </p:nvSpPr>
        <p:spPr>
          <a:xfrm>
            <a:off x="4548768" y="3813178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18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88" name="object 173">
            <a:extLst>
              <a:ext uri="{FF2B5EF4-FFF2-40B4-BE49-F238E27FC236}">
                <a16:creationId xmlns:a16="http://schemas.microsoft.com/office/drawing/2014/main" id="{2A24C12D-C62E-4F87-83FA-B1D979DAD48C}"/>
              </a:ext>
            </a:extLst>
          </p:cNvPr>
          <p:cNvSpPr txBox="1"/>
          <p:nvPr/>
        </p:nvSpPr>
        <p:spPr>
          <a:xfrm>
            <a:off x="4740359" y="3813178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24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89" name="object 173">
            <a:extLst>
              <a:ext uri="{FF2B5EF4-FFF2-40B4-BE49-F238E27FC236}">
                <a16:creationId xmlns:a16="http://schemas.microsoft.com/office/drawing/2014/main" id="{7646DB4D-8124-4987-BF8E-22DA7000D9BC}"/>
              </a:ext>
            </a:extLst>
          </p:cNvPr>
          <p:cNvSpPr txBox="1"/>
          <p:nvPr/>
        </p:nvSpPr>
        <p:spPr>
          <a:xfrm>
            <a:off x="4931951" y="3813178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3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90" name="object 173">
            <a:extLst>
              <a:ext uri="{FF2B5EF4-FFF2-40B4-BE49-F238E27FC236}">
                <a16:creationId xmlns:a16="http://schemas.microsoft.com/office/drawing/2014/main" id="{DAE06990-5192-45FF-B899-D3C3166AAF33}"/>
              </a:ext>
            </a:extLst>
          </p:cNvPr>
          <p:cNvSpPr txBox="1"/>
          <p:nvPr/>
        </p:nvSpPr>
        <p:spPr>
          <a:xfrm>
            <a:off x="5123542" y="3813178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36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91" name="object 173">
            <a:extLst>
              <a:ext uri="{FF2B5EF4-FFF2-40B4-BE49-F238E27FC236}">
                <a16:creationId xmlns:a16="http://schemas.microsoft.com/office/drawing/2014/main" id="{30A65539-EF73-4B9D-B7CA-FC7CE47C3AEF}"/>
              </a:ext>
            </a:extLst>
          </p:cNvPr>
          <p:cNvSpPr txBox="1"/>
          <p:nvPr/>
        </p:nvSpPr>
        <p:spPr>
          <a:xfrm>
            <a:off x="5315134" y="3813178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42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92" name="object 173">
            <a:extLst>
              <a:ext uri="{FF2B5EF4-FFF2-40B4-BE49-F238E27FC236}">
                <a16:creationId xmlns:a16="http://schemas.microsoft.com/office/drawing/2014/main" id="{04330839-A36D-4D83-ABF1-123C1B78EE55}"/>
              </a:ext>
            </a:extLst>
          </p:cNvPr>
          <p:cNvSpPr txBox="1"/>
          <p:nvPr/>
        </p:nvSpPr>
        <p:spPr>
          <a:xfrm>
            <a:off x="5506725" y="3813178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48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93" name="object 173">
            <a:extLst>
              <a:ext uri="{FF2B5EF4-FFF2-40B4-BE49-F238E27FC236}">
                <a16:creationId xmlns:a16="http://schemas.microsoft.com/office/drawing/2014/main" id="{BB5751E5-D56A-4C83-A721-AA56DFCD712F}"/>
              </a:ext>
            </a:extLst>
          </p:cNvPr>
          <p:cNvSpPr txBox="1"/>
          <p:nvPr/>
        </p:nvSpPr>
        <p:spPr>
          <a:xfrm>
            <a:off x="5698316" y="3813178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54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94" name="object 173">
            <a:extLst>
              <a:ext uri="{FF2B5EF4-FFF2-40B4-BE49-F238E27FC236}">
                <a16:creationId xmlns:a16="http://schemas.microsoft.com/office/drawing/2014/main" id="{0421795C-5965-4715-B75E-2C1041941837}"/>
              </a:ext>
            </a:extLst>
          </p:cNvPr>
          <p:cNvSpPr txBox="1"/>
          <p:nvPr/>
        </p:nvSpPr>
        <p:spPr>
          <a:xfrm>
            <a:off x="5889908" y="3813178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60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95" name="object 173">
            <a:extLst>
              <a:ext uri="{FF2B5EF4-FFF2-40B4-BE49-F238E27FC236}">
                <a16:creationId xmlns:a16="http://schemas.microsoft.com/office/drawing/2014/main" id="{95081B46-AD88-417A-B0AC-8AB105A1F0EC}"/>
              </a:ext>
            </a:extLst>
          </p:cNvPr>
          <p:cNvSpPr txBox="1"/>
          <p:nvPr/>
        </p:nvSpPr>
        <p:spPr>
          <a:xfrm>
            <a:off x="6081499" y="3813521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66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96" name="object 173">
            <a:extLst>
              <a:ext uri="{FF2B5EF4-FFF2-40B4-BE49-F238E27FC236}">
                <a16:creationId xmlns:a16="http://schemas.microsoft.com/office/drawing/2014/main" id="{766FAC1E-CD88-4B99-9DE2-57139A77BDB6}"/>
              </a:ext>
            </a:extLst>
          </p:cNvPr>
          <p:cNvSpPr txBox="1"/>
          <p:nvPr/>
        </p:nvSpPr>
        <p:spPr>
          <a:xfrm>
            <a:off x="6273090" y="3813521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72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97" name="object 173">
            <a:extLst>
              <a:ext uri="{FF2B5EF4-FFF2-40B4-BE49-F238E27FC236}">
                <a16:creationId xmlns:a16="http://schemas.microsoft.com/office/drawing/2014/main" id="{4AD377E8-2F1B-4B24-9007-E144E1D34459}"/>
              </a:ext>
            </a:extLst>
          </p:cNvPr>
          <p:cNvSpPr txBox="1"/>
          <p:nvPr/>
        </p:nvSpPr>
        <p:spPr>
          <a:xfrm>
            <a:off x="6464682" y="3813521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78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98" name="object 173">
            <a:extLst>
              <a:ext uri="{FF2B5EF4-FFF2-40B4-BE49-F238E27FC236}">
                <a16:creationId xmlns:a16="http://schemas.microsoft.com/office/drawing/2014/main" id="{791E6C5C-6F61-42EC-9EFF-A11F4540F51A}"/>
              </a:ext>
            </a:extLst>
          </p:cNvPr>
          <p:cNvSpPr txBox="1"/>
          <p:nvPr/>
        </p:nvSpPr>
        <p:spPr>
          <a:xfrm>
            <a:off x="6656274" y="3813521"/>
            <a:ext cx="96462" cy="93087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algn="ctr">
              <a:lnSpc>
                <a:spcPct val="100000"/>
              </a:lnSpc>
              <a:tabLst>
                <a:tab pos="229235" algn="l"/>
                <a:tab pos="431800" algn="l"/>
              </a:tabLst>
            </a:pPr>
            <a:r>
              <a:rPr sz="600" spc="-5" dirty="0">
                <a:latin typeface="Microsoft YaHei" panose="020B0503020204020204" pitchFamily="34" charset="-122"/>
                <a:ea typeface="Microsoft YaHei" panose="020B0503020204020204" pitchFamily="34" charset="-122"/>
                <a:cs typeface="Helvetica"/>
              </a:rPr>
              <a:t>84</a:t>
            </a:r>
            <a:endParaRPr sz="600" dirty="0">
              <a:latin typeface="Microsoft YaHei" panose="020B0503020204020204" pitchFamily="34" charset="-122"/>
              <a:ea typeface="Microsoft YaHei" panose="020B0503020204020204" pitchFamily="34" charset="-122"/>
              <a:cs typeface="Helvetica"/>
            </a:endParaRPr>
          </a:p>
        </p:txBody>
      </p:sp>
      <p:sp>
        <p:nvSpPr>
          <p:cNvPr id="299" name="文本框 199">
            <a:extLst>
              <a:ext uri="{FF2B5EF4-FFF2-40B4-BE49-F238E27FC236}">
                <a16:creationId xmlns:a16="http://schemas.microsoft.com/office/drawing/2014/main" id="{686106FE-42B9-4CD2-BCF9-D1AAB62E80A0}"/>
              </a:ext>
            </a:extLst>
          </p:cNvPr>
          <p:cNvSpPr txBox="1"/>
          <p:nvPr/>
        </p:nvSpPr>
        <p:spPr>
          <a:xfrm>
            <a:off x="1383237" y="2155553"/>
            <a:ext cx="2022498" cy="6982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4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</a:t>
            </a:r>
            <a:r>
              <a:rPr lang="zh-CN" altLang="en-US" sz="14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lang="en-US" altLang="zh-CN" sz="14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S</a:t>
            </a:r>
            <a:r>
              <a:rPr lang="zh-CN" altLang="en-US" sz="14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率</a:t>
            </a:r>
            <a:r>
              <a:rPr lang="en-US" altLang="zh-CN" sz="20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60% </a:t>
            </a:r>
            <a:endParaRPr lang="en-US" altLang="zh-CN" b="1" dirty="0">
              <a:solidFill>
                <a:schemeClr val="accent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既往治疗中位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3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月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</a:p>
        </p:txBody>
      </p:sp>
      <p:sp>
        <p:nvSpPr>
          <p:cNvPr id="300" name="文本框 200">
            <a:extLst>
              <a:ext uri="{FF2B5EF4-FFF2-40B4-BE49-F238E27FC236}">
                <a16:creationId xmlns:a16="http://schemas.microsoft.com/office/drawing/2014/main" id="{8E3D41F3-0189-40F3-90D8-4F5B0F0BB1DF}"/>
              </a:ext>
            </a:extLst>
          </p:cNvPr>
          <p:cNvSpPr txBox="1"/>
          <p:nvPr/>
        </p:nvSpPr>
        <p:spPr>
          <a:xfrm>
            <a:off x="4296722" y="2189090"/>
            <a:ext cx="2264422" cy="6644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4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中位</a:t>
            </a:r>
            <a:r>
              <a:rPr lang="en-US" altLang="zh-CN" sz="14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FS </a:t>
            </a:r>
            <a:r>
              <a:rPr lang="en-US" altLang="zh-CN" sz="20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</a:t>
            </a:r>
            <a:r>
              <a:rPr lang="zh-CN" altLang="en-US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个月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既往治疗中位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FS 1.8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月）</a:t>
            </a:r>
          </a:p>
        </p:txBody>
      </p:sp>
      <p:graphicFrame>
        <p:nvGraphicFramePr>
          <p:cNvPr id="301" name="表格 23">
            <a:extLst>
              <a:ext uri="{FF2B5EF4-FFF2-40B4-BE49-F238E27FC236}">
                <a16:creationId xmlns:a16="http://schemas.microsoft.com/office/drawing/2014/main" id="{75C99695-20DA-4EFE-982A-B8087D1E57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144594"/>
              </p:ext>
            </p:extLst>
          </p:nvPr>
        </p:nvGraphicFramePr>
        <p:xfrm>
          <a:off x="7033989" y="1723232"/>
          <a:ext cx="4813065" cy="48068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31876">
                  <a:extLst>
                    <a:ext uri="{9D8B030D-6E8A-4147-A177-3AD203B41FA5}">
                      <a16:colId xmlns:a16="http://schemas.microsoft.com/office/drawing/2014/main" val="2453467011"/>
                    </a:ext>
                  </a:extLst>
                </a:gridCol>
                <a:gridCol w="1604706">
                  <a:extLst>
                    <a:ext uri="{9D8B030D-6E8A-4147-A177-3AD203B41FA5}">
                      <a16:colId xmlns:a16="http://schemas.microsoft.com/office/drawing/2014/main" val="3038336127"/>
                    </a:ext>
                  </a:extLst>
                </a:gridCol>
                <a:gridCol w="2376483">
                  <a:extLst>
                    <a:ext uri="{9D8B030D-6E8A-4147-A177-3AD203B41FA5}">
                      <a16:colId xmlns:a16="http://schemas.microsoft.com/office/drawing/2014/main" val="2493931998"/>
                    </a:ext>
                  </a:extLst>
                </a:gridCol>
              </a:tblGrid>
              <a:tr h="53858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kern="1200" noProof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国内外临床指南推荐维布妥昔单抗为</a:t>
                      </a:r>
                      <a:r>
                        <a:rPr lang="en-US" altLang="zh-CN" sz="1400" b="1" kern="1200" noProof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R/R sALCL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kern="1200" noProof="0" dirty="0">
                          <a:solidFill>
                            <a:srgbClr val="C00000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首选治疗药物</a:t>
                      </a:r>
                    </a:p>
                  </a:txBody>
                  <a:tcPr marL="95479" marR="95479" marT="47740" marB="477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7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zh-CN" altLang="en-US" sz="1200" baseline="30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5479" marR="95479" marT="47740" marB="4774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5479" marR="95479" marT="47740" marB="4774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3129055"/>
                  </a:ext>
                </a:extLst>
              </a:tr>
              <a:tr h="142274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中国</a:t>
                      </a:r>
                    </a:p>
                  </a:txBody>
                  <a:tcPr marL="95479" marR="95479" marT="47740" marB="477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SCO 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指南（</a:t>
                      </a: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22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</a:t>
                      </a:r>
                      <a:r>
                        <a:rPr kumimoji="1" lang="en-US" altLang="zh-CN" sz="1100" kern="1200" baseline="80000" noProof="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[4]</a:t>
                      </a:r>
                      <a:endParaRPr kumimoji="1" lang="zh-CN" altLang="en-US" sz="1100" kern="1200" baseline="800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95479" marR="95479" marT="47740" marB="477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I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级推荐</a:t>
                      </a:r>
                      <a:r>
                        <a:rPr lang="en-US" altLang="zh-CN" sz="2800" b="1" i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A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类</a:t>
                      </a:r>
                      <a:endParaRPr lang="en-US" altLang="zh-CN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(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最高级别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)</a:t>
                      </a:r>
                    </a:p>
                  </a:txBody>
                  <a:tcPr marL="95479" marR="95479" marT="47740" marB="477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98254334"/>
                  </a:ext>
                </a:extLst>
              </a:tr>
              <a:tr h="142274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美国</a:t>
                      </a:r>
                    </a:p>
                  </a:txBody>
                  <a:tcPr marL="95479" marR="95479" marT="47740" marB="477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NCCN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指南（</a:t>
                      </a: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.2022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</a:t>
                      </a:r>
                      <a:r>
                        <a:rPr kumimoji="1" lang="en-US" altLang="zh-CN" sz="1100" kern="1200" baseline="80000" noProof="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[5]</a:t>
                      </a:r>
                      <a:endParaRPr kumimoji="1" lang="zh-CN" altLang="en-US" sz="1100" kern="1200" baseline="800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95479" marR="95479" marT="47740" marB="477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69875" indent="-269875" algn="ctr"/>
                      <a:r>
                        <a:rPr kumimoji="1" lang="zh-CN" altLang="en-US" sz="2800" b="1" i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首选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方案</a:t>
                      </a:r>
                      <a:endParaRPr lang="en-US" altLang="zh-CN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69875" indent="-269875" algn="ctr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(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最高级别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)</a:t>
                      </a:r>
                    </a:p>
                  </a:txBody>
                  <a:tcPr marL="95479" marR="95479" marT="47740" marB="477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6638169"/>
                  </a:ext>
                </a:extLst>
              </a:tr>
              <a:tr h="142274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欧洲</a:t>
                      </a:r>
                    </a:p>
                  </a:txBody>
                  <a:tcPr marL="95479" marR="95479" marT="47740" marB="477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ESMO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指南（</a:t>
                      </a: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15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</a:t>
                      </a:r>
                      <a:r>
                        <a:rPr kumimoji="1" lang="en-US" altLang="zh-CN" sz="1100" kern="1200" baseline="80000" noProof="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[6]</a:t>
                      </a:r>
                      <a:endParaRPr kumimoji="1" lang="zh-CN" altLang="en-US" sz="1100" kern="1200" baseline="800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95479" marR="95479" marT="47740" marB="477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zh-CN" sz="2800" b="1" i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A</a:t>
                      </a:r>
                      <a:r>
                        <a:rPr kumimoji="1" lang="zh-CN" altLang="en-US" sz="2800" b="1" i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级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推荐</a:t>
                      </a:r>
                      <a:endParaRPr lang="en-US" altLang="zh-CN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(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最高级别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)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95479" marR="95479" marT="47740" marB="477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0326732"/>
                  </a:ext>
                </a:extLst>
              </a:tr>
            </a:tbl>
          </a:graphicData>
        </a:graphic>
      </p:graphicFrame>
      <p:graphicFrame>
        <p:nvGraphicFramePr>
          <p:cNvPr id="302" name="表格 6">
            <a:extLst>
              <a:ext uri="{FF2B5EF4-FFF2-40B4-BE49-F238E27FC236}">
                <a16:creationId xmlns:a16="http://schemas.microsoft.com/office/drawing/2014/main" id="{CDE82274-5F18-40F0-8C44-D0A600625E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2760447"/>
              </p:ext>
            </p:extLst>
          </p:nvPr>
        </p:nvGraphicFramePr>
        <p:xfrm>
          <a:off x="741105" y="4097193"/>
          <a:ext cx="3246996" cy="85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1749">
                  <a:extLst>
                    <a:ext uri="{9D8B030D-6E8A-4147-A177-3AD203B41FA5}">
                      <a16:colId xmlns:a16="http://schemas.microsoft.com/office/drawing/2014/main" val="1375084192"/>
                    </a:ext>
                  </a:extLst>
                </a:gridCol>
                <a:gridCol w="811749">
                  <a:extLst>
                    <a:ext uri="{9D8B030D-6E8A-4147-A177-3AD203B41FA5}">
                      <a16:colId xmlns:a16="http://schemas.microsoft.com/office/drawing/2014/main" val="1715973006"/>
                    </a:ext>
                  </a:extLst>
                </a:gridCol>
                <a:gridCol w="811749">
                  <a:extLst>
                    <a:ext uri="{9D8B030D-6E8A-4147-A177-3AD203B41FA5}">
                      <a16:colId xmlns:a16="http://schemas.microsoft.com/office/drawing/2014/main" val="1956439529"/>
                    </a:ext>
                  </a:extLst>
                </a:gridCol>
                <a:gridCol w="811749">
                  <a:extLst>
                    <a:ext uri="{9D8B030D-6E8A-4147-A177-3AD203B41FA5}">
                      <a16:colId xmlns:a16="http://schemas.microsoft.com/office/drawing/2014/main" val="248107588"/>
                    </a:ext>
                  </a:extLst>
                </a:gridCol>
              </a:tblGrid>
              <a:tr h="230005">
                <a:tc gridSpan="4"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全人群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100" b="1" kern="120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100" b="1" kern="120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2612234"/>
                  </a:ext>
                </a:extLst>
              </a:tr>
              <a:tr h="2606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zh-CN" sz="14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ORR</a:t>
                      </a:r>
                      <a:endParaRPr kumimoji="1" lang="zh-CN" altLang="en-US" sz="1400" b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altLang="zh-CN" sz="1400" b="1" i="1" kern="1200" dirty="0">
                          <a:solidFill>
                            <a:srgbClr val="C00000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86%</a:t>
                      </a:r>
                      <a:endParaRPr kumimoji="1" lang="zh-CN" altLang="en-US" sz="1400" b="1" i="1" kern="1200" dirty="0">
                        <a:solidFill>
                          <a:srgbClr val="C00000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zh-CN" sz="10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CR</a:t>
                      </a:r>
                      <a:endParaRPr kumimoji="1" lang="zh-CN" altLang="en-US" sz="10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altLang="zh-CN" sz="1200" b="0" i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66%</a:t>
                      </a:r>
                      <a:endParaRPr kumimoji="1" lang="zh-CN" altLang="en-US" sz="1200" b="0" i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755417"/>
                  </a:ext>
                </a:extLst>
              </a:tr>
              <a:tr h="260600">
                <a:tc>
                  <a:txBody>
                    <a:bodyPr/>
                    <a:lstStyle/>
                    <a:p>
                      <a:pPr algn="ctr"/>
                      <a:r>
                        <a:rPr kumimoji="1" lang="zh-CN" altLang="en-US" sz="10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中位</a:t>
                      </a:r>
                      <a:r>
                        <a:rPr kumimoji="1" lang="en-US" altLang="zh-CN" sz="10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PFS</a:t>
                      </a:r>
                      <a:endParaRPr kumimoji="1" lang="zh-CN" altLang="en-US" sz="10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altLang="zh-CN" sz="1200" b="0" i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20</a:t>
                      </a:r>
                      <a:r>
                        <a:rPr kumimoji="1" lang="zh-CN" altLang="en-US" sz="1200" b="0" i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个月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zh-CN" sz="10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5</a:t>
                      </a:r>
                      <a:r>
                        <a:rPr kumimoji="1" lang="zh-CN" altLang="en-US" sz="10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年</a:t>
                      </a:r>
                      <a:r>
                        <a:rPr kumimoji="1" lang="en-US" altLang="zh-CN" sz="10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OS</a:t>
                      </a:r>
                      <a:r>
                        <a:rPr kumimoji="1" lang="zh-CN" altLang="en-US" sz="10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率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altLang="zh-CN" sz="1200" b="0" i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60%</a:t>
                      </a:r>
                      <a:endParaRPr kumimoji="1" lang="zh-CN" altLang="en-US" sz="1200" b="0" i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50376"/>
                  </a:ext>
                </a:extLst>
              </a:tr>
            </a:tbl>
          </a:graphicData>
        </a:graphic>
      </p:graphicFrame>
      <p:graphicFrame>
        <p:nvGraphicFramePr>
          <p:cNvPr id="303" name="表格 6">
            <a:extLst>
              <a:ext uri="{FF2B5EF4-FFF2-40B4-BE49-F238E27FC236}">
                <a16:creationId xmlns:a16="http://schemas.microsoft.com/office/drawing/2014/main" id="{1E129D04-5C28-4488-A868-84FA6C90A6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412879"/>
              </p:ext>
            </p:extLst>
          </p:nvPr>
        </p:nvGraphicFramePr>
        <p:xfrm>
          <a:off x="4123049" y="4091557"/>
          <a:ext cx="2530856" cy="88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5428">
                  <a:extLst>
                    <a:ext uri="{9D8B030D-6E8A-4147-A177-3AD203B41FA5}">
                      <a16:colId xmlns:a16="http://schemas.microsoft.com/office/drawing/2014/main" val="1375084192"/>
                    </a:ext>
                  </a:extLst>
                </a:gridCol>
                <a:gridCol w="1265428">
                  <a:extLst>
                    <a:ext uri="{9D8B030D-6E8A-4147-A177-3AD203B41FA5}">
                      <a16:colId xmlns:a16="http://schemas.microsoft.com/office/drawing/2014/main" val="1715973006"/>
                    </a:ext>
                  </a:extLst>
                </a:gridCol>
              </a:tblGrid>
              <a:tr h="260214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完全缓解患者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2612234"/>
                  </a:ext>
                </a:extLst>
              </a:tr>
              <a:tr h="29482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zh-CN" sz="14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5</a:t>
                      </a:r>
                      <a:r>
                        <a:rPr kumimoji="1" lang="zh-CN" altLang="en-US" sz="14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年</a:t>
                      </a:r>
                      <a:r>
                        <a:rPr kumimoji="1" lang="en-US" altLang="zh-CN" sz="14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PFS</a:t>
                      </a:r>
                      <a:r>
                        <a:rPr kumimoji="1" lang="zh-CN" altLang="en-US" sz="14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率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altLang="zh-CN" sz="1400" b="1" i="1" kern="1200" dirty="0">
                          <a:solidFill>
                            <a:srgbClr val="C00000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57%</a:t>
                      </a:r>
                      <a:endParaRPr kumimoji="1" lang="zh-CN" altLang="en-US" sz="1400" b="1" i="1" kern="1200" dirty="0">
                        <a:solidFill>
                          <a:srgbClr val="C00000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755417"/>
                  </a:ext>
                </a:extLst>
              </a:tr>
              <a:tr h="29482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zh-CN" sz="14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5</a:t>
                      </a:r>
                      <a:r>
                        <a:rPr kumimoji="1" lang="zh-CN" altLang="en-US" sz="14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年</a:t>
                      </a:r>
                      <a:r>
                        <a:rPr kumimoji="1" lang="en-US" altLang="zh-CN" sz="14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OS</a:t>
                      </a:r>
                      <a:r>
                        <a:rPr kumimoji="1" lang="zh-CN" altLang="en-US" sz="14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率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altLang="zh-CN" sz="1400" b="1" i="1" kern="1200" dirty="0">
                          <a:solidFill>
                            <a:srgbClr val="C00000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79%</a:t>
                      </a:r>
                      <a:endParaRPr kumimoji="1" lang="zh-CN" altLang="en-US" sz="1400" b="1" i="1" kern="1200" dirty="0">
                        <a:solidFill>
                          <a:srgbClr val="C00000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50376"/>
                  </a:ext>
                </a:extLst>
              </a:tr>
            </a:tbl>
          </a:graphicData>
        </a:graphic>
      </p:graphicFrame>
      <p:sp>
        <p:nvSpPr>
          <p:cNvPr id="126" name="Rectangle 7">
            <a:extLst>
              <a:ext uri="{FF2B5EF4-FFF2-40B4-BE49-F238E27FC236}">
                <a16:creationId xmlns:a16="http://schemas.microsoft.com/office/drawing/2014/main" id="{29AC0EB4-C22B-465B-ADCE-3F9002D415D7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有效性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4481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F28B53B-F124-403F-84C2-635B228CF7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0306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98" imgH="499" progId="TCLayout.ActiveDocument.1">
                  <p:embed/>
                </p:oleObj>
              </mc:Choice>
              <mc:Fallback>
                <p:oleObj name="think-cell 幻灯片" r:id="rId4" imgW="498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F28B53B-F124-403F-84C2-635B228CF7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矩形 34">
            <a:extLst>
              <a:ext uri="{FF2B5EF4-FFF2-40B4-BE49-F238E27FC236}">
                <a16:creationId xmlns:a16="http://schemas.microsoft.com/office/drawing/2014/main" id="{B62F946B-6FE8-A4AA-FE63-A28819433669}"/>
              </a:ext>
            </a:extLst>
          </p:cNvPr>
          <p:cNvSpPr/>
          <p:nvPr/>
        </p:nvSpPr>
        <p:spPr>
          <a:xfrm>
            <a:off x="550175" y="1267238"/>
            <a:ext cx="6726237" cy="517710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Microsoft YaHei" panose="020B0503020204020204" pitchFamily="34" charset="-122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49DC323D-0D33-712C-1694-CE28039DDCDD}"/>
              </a:ext>
            </a:extLst>
          </p:cNvPr>
          <p:cNvSpPr/>
          <p:nvPr/>
        </p:nvSpPr>
        <p:spPr>
          <a:xfrm>
            <a:off x="586652" y="1289037"/>
            <a:ext cx="6662383" cy="450947"/>
          </a:xfrm>
          <a:prstGeom prst="rect">
            <a:avLst/>
          </a:prstGeom>
          <a:solidFill>
            <a:srgbClr val="FCE7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BAF0EF5-5D77-474B-BCA0-F172DEECF490}"/>
              </a:ext>
            </a:extLst>
          </p:cNvPr>
          <p:cNvSpPr/>
          <p:nvPr/>
        </p:nvSpPr>
        <p:spPr>
          <a:xfrm>
            <a:off x="550795" y="5805620"/>
            <a:ext cx="6731623" cy="276999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Microsoft YaHei" panose="020B0503020204020204" pitchFamily="34" charset="-122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E0DA8F9A-4A63-14A8-65C4-CC5E859F31C2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670181D0-0EFC-9617-0CF2-CBA2D40E1BEB}"/>
              </a:ext>
            </a:extLst>
          </p:cNvPr>
          <p:cNvSpPr txBox="1"/>
          <p:nvPr/>
        </p:nvSpPr>
        <p:spPr>
          <a:xfrm>
            <a:off x="919326" y="1325035"/>
            <a:ext cx="5989312" cy="3627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6525" lvl="0" algn="ctr">
              <a:lnSpc>
                <a:spcPct val="120000"/>
              </a:lnSpc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R/R </a:t>
            </a:r>
            <a:r>
              <a:rPr kumimoji="0" lang="en-US" altLang="zh-CN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HL</a:t>
            </a:r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全球多中心研究</a:t>
            </a:r>
            <a:r>
              <a:rPr lang="zh-CN" altLang="en-US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r>
              <a:rPr lang="en-US" altLang="zh-CN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</a:t>
            </a:r>
            <a:r>
              <a:rPr lang="zh-CN" altLang="en-US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随访结果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A2DFEADF-03FE-82B9-65CB-D0575224FB73}"/>
              </a:ext>
            </a:extLst>
          </p:cNvPr>
          <p:cNvGrpSpPr/>
          <p:nvPr/>
        </p:nvGrpSpPr>
        <p:grpSpPr>
          <a:xfrm>
            <a:off x="1027964" y="1854365"/>
            <a:ext cx="4128006" cy="1646394"/>
            <a:chOff x="989477" y="1678378"/>
            <a:chExt cx="4128006" cy="1646394"/>
          </a:xfrm>
        </p:grpSpPr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782BB40E-A7A8-FC5A-2692-A86AFE92E9AB}"/>
                </a:ext>
              </a:extLst>
            </p:cNvPr>
            <p:cNvSpPr txBox="1"/>
            <p:nvPr/>
          </p:nvSpPr>
          <p:spPr>
            <a:xfrm>
              <a:off x="989477" y="3093940"/>
              <a:ext cx="196500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全球多中心</a:t>
              </a:r>
              <a:r>
                <a:rPr lang="en-US" altLang="zh-CN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II</a:t>
              </a:r>
              <a:r>
                <a:rPr lang="zh-CN" alt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期研究结果</a:t>
              </a:r>
            </a:p>
          </p:txBody>
        </p:sp>
        <p:sp>
          <p:nvSpPr>
            <p:cNvPr id="46" name="TextBox 18">
              <a:extLst>
                <a:ext uri="{FF2B5EF4-FFF2-40B4-BE49-F238E27FC236}">
                  <a16:creationId xmlns:a16="http://schemas.microsoft.com/office/drawing/2014/main" id="{2289ABDA-E1D9-81F7-FD90-095FDEE80DFA}"/>
                </a:ext>
              </a:extLst>
            </p:cNvPr>
            <p:cNvSpPr txBox="1"/>
            <p:nvPr/>
          </p:nvSpPr>
          <p:spPr>
            <a:xfrm>
              <a:off x="2450611" y="1678378"/>
              <a:ext cx="266687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中位</a:t>
              </a:r>
              <a:r>
                <a:rPr lang="en-US" altLang="zh-CN" sz="14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OS</a:t>
              </a:r>
              <a:r>
                <a:rPr lang="zh-CN" altLang="en-US" sz="14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：</a:t>
              </a:r>
              <a:r>
                <a:rPr lang="en-US" altLang="zh-CN" sz="14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40.5</a:t>
              </a:r>
              <a:r>
                <a:rPr lang="zh-CN" altLang="en-US" sz="14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个月</a:t>
              </a:r>
              <a:endParaRPr lang="en-US" altLang="zh-CN" sz="14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algn="ctr"/>
              <a:r>
                <a:rPr lang="en-US" altLang="zh-CN" sz="14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5</a:t>
              </a:r>
              <a:r>
                <a:rPr lang="zh-CN" altLang="en-US" sz="14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年</a:t>
              </a:r>
              <a:r>
                <a:rPr lang="en-US" altLang="zh-CN" sz="14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OS</a:t>
              </a:r>
              <a:r>
                <a:rPr lang="zh-CN" altLang="en-US" sz="14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率：</a:t>
              </a:r>
              <a:r>
                <a:rPr lang="en-US" altLang="zh-CN" sz="14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41%</a:t>
              </a:r>
            </a:p>
            <a:p>
              <a:pPr algn="ctr"/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（既往治疗中位</a:t>
              </a:r>
              <a:r>
                <a:rPr lang="en-US" altLang="zh-CN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OS 19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个月）</a:t>
              </a:r>
              <a:r>
                <a:rPr kumimoji="1" lang="en-US" altLang="zh-CN" sz="1400" b="0" i="0" kern="100" baseline="30000" noProof="0" dirty="0">
                  <a:solidFill>
                    <a:schemeClr val="dk1"/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 [1]</a:t>
              </a:r>
              <a:endParaRPr lang="zh-CN" altLang="en-US" sz="1400" baseline="300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aphicFrame>
        <p:nvGraphicFramePr>
          <p:cNvPr id="89" name="表格 14">
            <a:extLst>
              <a:ext uri="{FF2B5EF4-FFF2-40B4-BE49-F238E27FC236}">
                <a16:creationId xmlns:a16="http://schemas.microsoft.com/office/drawing/2014/main" id="{57A1F41F-83EE-1610-858B-AC93862C33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4113733"/>
              </p:ext>
            </p:extLst>
          </p:nvPr>
        </p:nvGraphicFramePr>
        <p:xfrm>
          <a:off x="649301" y="4633857"/>
          <a:ext cx="6576224" cy="1058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64845">
                  <a:extLst>
                    <a:ext uri="{9D8B030D-6E8A-4147-A177-3AD203B41FA5}">
                      <a16:colId xmlns:a16="http://schemas.microsoft.com/office/drawing/2014/main" val="3180098723"/>
                    </a:ext>
                  </a:extLst>
                </a:gridCol>
                <a:gridCol w="4111379">
                  <a:extLst>
                    <a:ext uri="{9D8B030D-6E8A-4147-A177-3AD203B41FA5}">
                      <a16:colId xmlns:a16="http://schemas.microsoft.com/office/drawing/2014/main" val="893457315"/>
                    </a:ext>
                  </a:extLst>
                </a:gridCol>
              </a:tblGrid>
              <a:tr h="27659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中国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II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期临床研究</a:t>
                      </a:r>
                      <a:r>
                        <a:rPr kumimoji="1" lang="en-US" altLang="zh-CN" sz="1200" b="0" i="0" kern="100" baseline="30000" noProof="0" dirty="0">
                          <a:solidFill>
                            <a:schemeClr val="dk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[2]</a:t>
                      </a:r>
                      <a:endParaRPr lang="zh-CN" altLang="en-US" sz="1200" b="0" baseline="300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2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12</a:t>
                      </a:r>
                      <a:r>
                        <a:rPr lang="zh-CN" altLang="en-US" sz="12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个月</a:t>
                      </a:r>
                      <a:r>
                        <a:rPr lang="en-US" altLang="zh-CN" sz="12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OS</a:t>
                      </a:r>
                      <a:r>
                        <a:rPr lang="zh-CN" altLang="en-US" sz="12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：</a:t>
                      </a:r>
                      <a:r>
                        <a:rPr lang="en-US" altLang="zh-CN" sz="12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90%</a:t>
                      </a:r>
                      <a:r>
                        <a:rPr lang="zh-CN" altLang="en-US" sz="12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；</a:t>
                      </a:r>
                      <a:r>
                        <a:rPr lang="en-US" altLang="zh-CN" sz="120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16.6</a:t>
                      </a:r>
                      <a:r>
                        <a:rPr lang="zh-CN" altLang="en-US" sz="120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个月随访</a:t>
                      </a:r>
                      <a:r>
                        <a:rPr lang="zh-CN" altLang="en-US" sz="1200" kern="1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后</a:t>
                      </a:r>
                      <a:r>
                        <a:rPr lang="zh-CN" altLang="en-US" sz="120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中位</a:t>
                      </a:r>
                      <a:r>
                        <a:rPr lang="en-US" altLang="zh-CN" sz="120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OS</a:t>
                      </a:r>
                      <a:r>
                        <a:rPr lang="zh-CN" altLang="en-US" sz="1200" kern="1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未达到</a:t>
                      </a:r>
                      <a:endParaRPr lang="en-US" altLang="zh-CN" sz="1200" kern="1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200" kern="1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ORR</a:t>
                      </a:r>
                      <a:r>
                        <a:rPr lang="zh-CN" altLang="en-US" sz="120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：</a:t>
                      </a:r>
                      <a:r>
                        <a:rPr lang="en-US" altLang="zh-CN" sz="120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70%</a:t>
                      </a:r>
                      <a:r>
                        <a:rPr lang="zh-CN" altLang="en-US" sz="120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 CR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：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30%</a:t>
                      </a:r>
                      <a:endParaRPr lang="zh-CN" altLang="en-US" sz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360645"/>
                  </a:ext>
                </a:extLst>
              </a:tr>
              <a:tr h="2954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全球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2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项真实世界研究荟萃分析</a:t>
                      </a:r>
                      <a:r>
                        <a:rPr kumimoji="1" lang="en-US" altLang="zh-CN" sz="1200" b="0" i="0" kern="100" baseline="30000" noProof="0" dirty="0">
                          <a:solidFill>
                            <a:schemeClr val="dk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[3]</a:t>
                      </a:r>
                      <a:endParaRPr lang="zh-CN" altLang="en-US" sz="1200" b="0" baseline="300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年</a:t>
                      </a:r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OS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：</a:t>
                      </a:r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8%-62%</a:t>
                      </a:r>
                      <a:endParaRPr lang="en-US" altLang="zh-CN" sz="1200" b="1" kern="1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年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FS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：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2%-33%</a:t>
                      </a:r>
                      <a:r>
                        <a:rPr lang="zh-CN" altLang="en-US" sz="1200" kern="1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 </a:t>
                      </a:r>
                      <a:endParaRPr lang="en-US" altLang="zh-CN" sz="1200" kern="1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ORR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：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7%-84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R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：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1%-46%</a:t>
                      </a:r>
                      <a:endParaRPr lang="zh-CN" altLang="en-US" sz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4661746"/>
                  </a:ext>
                </a:extLst>
              </a:tr>
            </a:tbl>
          </a:graphicData>
        </a:graphic>
      </p:graphicFrame>
      <p:sp>
        <p:nvSpPr>
          <p:cNvPr id="90" name="文本框 89">
            <a:extLst>
              <a:ext uri="{FF2B5EF4-FFF2-40B4-BE49-F238E27FC236}">
                <a16:creationId xmlns:a16="http://schemas.microsoft.com/office/drawing/2014/main" id="{46B0585A-188E-A75F-9608-B02C50EDF3C1}"/>
              </a:ext>
            </a:extLst>
          </p:cNvPr>
          <p:cNvSpPr txBox="1"/>
          <p:nvPr/>
        </p:nvSpPr>
        <p:spPr>
          <a:xfrm>
            <a:off x="1415272" y="5779651"/>
            <a:ext cx="4997419" cy="3289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国内外权威临床指南均推荐维布妥昔单抗为</a:t>
            </a:r>
            <a:r>
              <a:rPr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/R </a:t>
            </a:r>
            <a:r>
              <a:rPr lang="en-US" altLang="zh-CN" sz="1400" b="1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HL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治疗药物</a:t>
            </a:r>
          </a:p>
        </p:txBody>
      </p:sp>
      <p:sp>
        <p:nvSpPr>
          <p:cNvPr id="97" name="文本框 96">
            <a:extLst>
              <a:ext uri="{FF2B5EF4-FFF2-40B4-BE49-F238E27FC236}">
                <a16:creationId xmlns:a16="http://schemas.microsoft.com/office/drawing/2014/main" id="{4D73FEA9-C5F0-43E8-8F69-8AFD5353607C}"/>
              </a:ext>
            </a:extLst>
          </p:cNvPr>
          <p:cNvSpPr txBox="1"/>
          <p:nvPr/>
        </p:nvSpPr>
        <p:spPr>
          <a:xfrm>
            <a:off x="518511" y="6590843"/>
            <a:ext cx="11109975" cy="276999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1] Robert C ,et al. Blood, 2016;128(12):1562-6; [2]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注射用维布妥昔单抗（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JXSS1900015)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申请上市技术评审报告 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;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3] B. von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Tresckow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, et al. Annals of Oncology.2020.08.006. [4]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Madelleine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Duvic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 et al. J Clin Oncol, 2015;33:3759-3765.[5] 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中国临床肿瘤协会（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CSCO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）淋巴瘤诊疗指南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2022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版 </a:t>
            </a:r>
            <a:endParaRPr kumimoji="0" lang="en-US" altLang="zh-CN" sz="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6] NCCN Clinical Practice Guidelines in Oncology ( NCCN Guidelines®) for T-Cell Lymphomas, v2.2022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7]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Eichenauer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 DA, et al. Ann Oncol. 2018 Oct 1;29(Supplement_4):iv19-iv29</a:t>
            </a:r>
          </a:p>
        </p:txBody>
      </p:sp>
      <p:sp>
        <p:nvSpPr>
          <p:cNvPr id="96" name="矩形: 圆角 95">
            <a:extLst>
              <a:ext uri="{FF2B5EF4-FFF2-40B4-BE49-F238E27FC236}">
                <a16:creationId xmlns:a16="http://schemas.microsoft.com/office/drawing/2014/main" id="{C154C39C-AE7A-8238-2AD6-A8F8EC1AC015}"/>
              </a:ext>
            </a:extLst>
          </p:cNvPr>
          <p:cNvSpPr/>
          <p:nvPr/>
        </p:nvSpPr>
        <p:spPr>
          <a:xfrm>
            <a:off x="7418596" y="1267238"/>
            <a:ext cx="4209891" cy="517710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zh-CN" altLang="en-US" sz="1200" kern="10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00" name="圆角矩形 42">
            <a:extLst>
              <a:ext uri="{FF2B5EF4-FFF2-40B4-BE49-F238E27FC236}">
                <a16:creationId xmlns:a16="http://schemas.microsoft.com/office/drawing/2014/main" id="{B0668DB4-C396-D917-3466-7BA81F7E601F}"/>
              </a:ext>
            </a:extLst>
          </p:cNvPr>
          <p:cNvSpPr/>
          <p:nvPr/>
        </p:nvSpPr>
        <p:spPr>
          <a:xfrm>
            <a:off x="7530851" y="1652897"/>
            <a:ext cx="3955522" cy="2184829"/>
          </a:xfrm>
          <a:prstGeom prst="roundRect">
            <a:avLst>
              <a:gd name="adj" fmla="val 0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中位</a:t>
            </a:r>
            <a:r>
              <a:rPr lang="en-US" altLang="zh-CN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PFS</a:t>
            </a:r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高达</a:t>
            </a:r>
            <a:r>
              <a:rPr lang="en-US" altLang="zh-CN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4.8</a:t>
            </a:r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年</a:t>
            </a:r>
            <a:r>
              <a:rPr lang="en-US" altLang="zh-CN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*</a:t>
            </a:r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en-US" altLang="zh-CN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100% </a:t>
            </a:r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的</a:t>
            </a:r>
            <a:r>
              <a:rPr lang="en-US" altLang="zh-CN" sz="1600" b="1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pcALCL</a:t>
            </a:r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患者完全缓解，并且起效迅速</a:t>
            </a:r>
            <a:r>
              <a:rPr kumimoji="1" lang="en-US" altLang="zh-CN" sz="1600" b="0" i="0" kern="100" baseline="30000" noProof="0" dirty="0">
                <a:solidFill>
                  <a:schemeClr val="dk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[4]</a:t>
            </a:r>
            <a:endParaRPr lang="en-US" altLang="zh-CN" sz="1600" baseline="30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216000" indent="-216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全球多中心</a:t>
            </a:r>
            <a:r>
              <a:rPr lang="en-US" altLang="zh-CN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II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期试验显示</a:t>
            </a:r>
            <a:r>
              <a:rPr lang="en-US" altLang="zh-CN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ORR 73%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en-US" altLang="zh-CN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 35%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中位</a:t>
            </a:r>
            <a:r>
              <a:rPr lang="en-US" altLang="zh-CN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PFS 4.8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年</a:t>
            </a:r>
            <a:endParaRPr lang="en-US" altLang="zh-CN" sz="14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216000" indent="-216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4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pcALCL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患者的</a:t>
            </a:r>
            <a:r>
              <a:rPr lang="en-US" altLang="zh-CN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</a:t>
            </a:r>
            <a:r>
              <a:rPr lang="zh-CN" altLang="en-US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高达</a:t>
            </a:r>
            <a:r>
              <a:rPr lang="en-US" altLang="zh-CN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100%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且最短接受</a:t>
            </a:r>
            <a:r>
              <a:rPr lang="en-US" altLang="zh-CN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个周期治疗即可实现缓解</a:t>
            </a:r>
            <a:endParaRPr lang="en-US" altLang="zh-CN" sz="14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216000" indent="-216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MF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患者平均</a:t>
            </a:r>
            <a:r>
              <a:rPr lang="en-US" altLang="zh-CN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4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个周期达到缓解</a:t>
            </a:r>
            <a:endParaRPr lang="en-US" altLang="zh-CN" sz="14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87" name="矩形 37">
            <a:extLst>
              <a:ext uri="{FF2B5EF4-FFF2-40B4-BE49-F238E27FC236}">
                <a16:creationId xmlns:a16="http://schemas.microsoft.com/office/drawing/2014/main" id="{255CBB05-328D-4303-B04E-2A6674940B6C}"/>
              </a:ext>
            </a:extLst>
          </p:cNvPr>
          <p:cNvSpPr/>
          <p:nvPr/>
        </p:nvSpPr>
        <p:spPr>
          <a:xfrm>
            <a:off x="7430669" y="1284230"/>
            <a:ext cx="4182638" cy="388914"/>
          </a:xfrm>
          <a:prstGeom prst="rect">
            <a:avLst/>
          </a:prstGeom>
          <a:solidFill>
            <a:srgbClr val="FCE7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1" name="标题 1">
            <a:extLst>
              <a:ext uri="{FF2B5EF4-FFF2-40B4-BE49-F238E27FC236}">
                <a16:creationId xmlns:a16="http://schemas.microsoft.com/office/drawing/2014/main" id="{31A19DD2-D7DD-517D-54C5-BCFB38331643}"/>
              </a:ext>
            </a:extLst>
          </p:cNvPr>
          <p:cNvSpPr txBox="1">
            <a:spLocks/>
          </p:cNvSpPr>
          <p:nvPr/>
        </p:nvSpPr>
        <p:spPr>
          <a:xfrm>
            <a:off x="7806657" y="1351290"/>
            <a:ext cx="3412381" cy="28623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zh-CN" sz="1400" b="1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pcALCL</a:t>
            </a:r>
            <a:r>
              <a:rPr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/MF</a:t>
            </a:r>
            <a:r>
              <a:rPr lang="zh-CN" altLang="en-US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全球多中心研究</a:t>
            </a:r>
            <a:endParaRPr lang="zh-CN" altLang="en-US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ADE481A-C63D-4EE3-BC81-DE9F81978A08}"/>
              </a:ext>
            </a:extLst>
          </p:cNvPr>
          <p:cNvSpPr/>
          <p:nvPr/>
        </p:nvSpPr>
        <p:spPr>
          <a:xfrm>
            <a:off x="550795" y="4304562"/>
            <a:ext cx="6731623" cy="276999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Microsoft YaHei" panose="020B0503020204020204" pitchFamily="34" charset="-122"/>
            </a:endParaRP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AF02A233-7C06-43A0-3541-5CFF6B686989}"/>
              </a:ext>
            </a:extLst>
          </p:cNvPr>
          <p:cNvSpPr txBox="1"/>
          <p:nvPr/>
        </p:nvSpPr>
        <p:spPr>
          <a:xfrm>
            <a:off x="1230777" y="4289173"/>
            <a:ext cx="53716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中国临床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研究和真实世界数据验证了</a:t>
            </a:r>
            <a:r>
              <a:rPr lang="zh-CN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维布妥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昔</a:t>
            </a:r>
            <a:r>
              <a:rPr lang="zh-CN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单抗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患者的长期生存</a:t>
            </a:r>
            <a:endParaRPr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178BCADC-2155-4A6E-9707-65FA58EBCDD5}"/>
              </a:ext>
            </a:extLst>
          </p:cNvPr>
          <p:cNvSpPr txBox="1"/>
          <p:nvPr/>
        </p:nvSpPr>
        <p:spPr>
          <a:xfrm>
            <a:off x="7543791" y="6019673"/>
            <a:ext cx="41029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171450" indent="-171450">
              <a:buFont typeface="Arial" panose="020B0604020202020204" pitchFamily="34" charset="0"/>
              <a:buChar char="•"/>
              <a:defRPr sz="1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sz="1100" dirty="0"/>
              <a:t>美国</a:t>
            </a:r>
            <a:r>
              <a:rPr lang="en-US" altLang="zh-CN" sz="1100" dirty="0"/>
              <a:t>NCCN CTCL</a:t>
            </a:r>
            <a:r>
              <a:rPr lang="zh-CN" altLang="en-US" sz="1100" dirty="0"/>
              <a:t>临床指南</a:t>
            </a:r>
            <a:r>
              <a:rPr lang="en-US" altLang="zh-CN" sz="1100" dirty="0"/>
              <a:t>(1.2022)</a:t>
            </a:r>
            <a:r>
              <a:rPr lang="en-US" altLang="zh-CN" sz="1100" baseline="30000" dirty="0"/>
              <a:t>[6]</a:t>
            </a:r>
            <a:r>
              <a:rPr lang="zh-CN" altLang="en-US" sz="1400" b="1" dirty="0">
                <a:solidFill>
                  <a:srgbClr val="C00000"/>
                </a:solidFill>
              </a:rPr>
              <a:t>首选</a:t>
            </a:r>
            <a:r>
              <a:rPr lang="zh-CN" altLang="en-US" sz="1100" dirty="0"/>
              <a:t>治疗药物推荐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D5EDDF22-ED4C-4F89-AF36-02C0AADD57AA}"/>
              </a:ext>
            </a:extLst>
          </p:cNvPr>
          <p:cNvSpPr/>
          <p:nvPr/>
        </p:nvSpPr>
        <p:spPr>
          <a:xfrm>
            <a:off x="7419783" y="4114337"/>
            <a:ext cx="4222042" cy="314822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highlight>
                <a:srgbClr val="FFFF00"/>
              </a:highlight>
              <a:ea typeface="Microsoft YaHei" panose="020B0503020204020204" pitchFamily="34" charset="-122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BA920107-F3B0-4143-B804-4C1AB2AABAA9}"/>
              </a:ext>
            </a:extLst>
          </p:cNvPr>
          <p:cNvSpPr txBox="1"/>
          <p:nvPr/>
        </p:nvSpPr>
        <p:spPr>
          <a:xfrm>
            <a:off x="7376105" y="4114336"/>
            <a:ext cx="43346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1400" b="1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sz="1400" b="1" dirty="0">
                <a:latin typeface="Microsoft YaHei" panose="020B0503020204020204" pitchFamily="34" charset="-122"/>
              </a:rPr>
              <a:t>真实世界数据验证了</a:t>
            </a:r>
            <a:r>
              <a:rPr lang="zh-CN" altLang="en-US" dirty="0"/>
              <a:t>维布妥昔单抗高缓解和迅速起效</a:t>
            </a:r>
            <a:endParaRPr lang="en-US" altLang="zh-CN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7E6C5E8-249F-4D52-9A6C-BC8AFA2313CE}"/>
              </a:ext>
            </a:extLst>
          </p:cNvPr>
          <p:cNvSpPr/>
          <p:nvPr/>
        </p:nvSpPr>
        <p:spPr>
          <a:xfrm>
            <a:off x="7441362" y="5664102"/>
            <a:ext cx="4205404" cy="276999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Microsoft YaHei" panose="020B0503020204020204" pitchFamily="34" charset="-122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DD0FEE44-42D6-4848-BF77-76661CC5020A}"/>
              </a:ext>
            </a:extLst>
          </p:cNvPr>
          <p:cNvSpPr txBox="1"/>
          <p:nvPr/>
        </p:nvSpPr>
        <p:spPr>
          <a:xfrm>
            <a:off x="7521025" y="4496749"/>
            <a:ext cx="3955522" cy="1104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6000" marR="0" lvl="0" indent="-21600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实际临床使用维布妥昔单抗治疗</a:t>
            </a:r>
            <a:r>
              <a:rPr kumimoji="0" lang="en-US" altLang="zh-C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pcALCL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MF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的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系统综述显示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kumimoji="0" lang="en-US" altLang="zh-C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pcALCL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患者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</a:t>
            </a:r>
            <a:r>
              <a:rPr kumimoji="0" lang="zh-CN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率为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100%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达到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的平均时长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&lt;2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周期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；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MF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患者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PR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率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57%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达到缓解的平均时长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~3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周期</a:t>
            </a:r>
            <a:endParaRPr kumimoji="0" lang="en-US" altLang="zh-CN" sz="1400" b="0" i="0" u="none" strike="sng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09" name="文本框 89">
            <a:extLst>
              <a:ext uri="{FF2B5EF4-FFF2-40B4-BE49-F238E27FC236}">
                <a16:creationId xmlns:a16="http://schemas.microsoft.com/office/drawing/2014/main" id="{DE0F57C5-42E3-4E20-A2E2-AEA4CF7D76F6}"/>
              </a:ext>
            </a:extLst>
          </p:cNvPr>
          <p:cNvSpPr txBox="1"/>
          <p:nvPr/>
        </p:nvSpPr>
        <p:spPr>
          <a:xfrm>
            <a:off x="7290081" y="5648713"/>
            <a:ext cx="45079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1400" b="1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en-US" altLang="zh-CN" dirty="0"/>
              <a:t>NCCN</a:t>
            </a:r>
            <a:r>
              <a:rPr lang="zh-CN" altLang="en-US" dirty="0"/>
              <a:t>推荐维布妥昔单抗为</a:t>
            </a:r>
            <a:r>
              <a:rPr lang="en-US" altLang="zh-CN" dirty="0" err="1"/>
              <a:t>pcALCL</a:t>
            </a:r>
            <a:r>
              <a:rPr lang="en-US" altLang="zh-CN" dirty="0"/>
              <a:t>/MF</a:t>
            </a:r>
            <a:r>
              <a:rPr lang="zh-CN" altLang="en-US" dirty="0"/>
              <a:t>首选药物</a:t>
            </a:r>
          </a:p>
        </p:txBody>
      </p:sp>
      <p:graphicFrame>
        <p:nvGraphicFramePr>
          <p:cNvPr id="110" name="表格 14">
            <a:extLst>
              <a:ext uri="{FF2B5EF4-FFF2-40B4-BE49-F238E27FC236}">
                <a16:creationId xmlns:a16="http://schemas.microsoft.com/office/drawing/2014/main" id="{A27C5B43-C198-45DF-843E-EA1AC63F50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999856"/>
              </p:ext>
            </p:extLst>
          </p:nvPr>
        </p:nvGraphicFramePr>
        <p:xfrm>
          <a:off x="553183" y="6111334"/>
          <a:ext cx="6691346" cy="2954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70996">
                  <a:extLst>
                    <a:ext uri="{9D8B030D-6E8A-4147-A177-3AD203B41FA5}">
                      <a16:colId xmlns:a16="http://schemas.microsoft.com/office/drawing/2014/main" val="3180098723"/>
                    </a:ext>
                  </a:extLst>
                </a:gridCol>
                <a:gridCol w="2583711">
                  <a:extLst>
                    <a:ext uri="{9D8B030D-6E8A-4147-A177-3AD203B41FA5}">
                      <a16:colId xmlns:a16="http://schemas.microsoft.com/office/drawing/2014/main" val="893457315"/>
                    </a:ext>
                  </a:extLst>
                </a:gridCol>
                <a:gridCol w="1736639">
                  <a:extLst>
                    <a:ext uri="{9D8B030D-6E8A-4147-A177-3AD203B41FA5}">
                      <a16:colId xmlns:a16="http://schemas.microsoft.com/office/drawing/2014/main" val="2812962578"/>
                    </a:ext>
                  </a:extLst>
                </a:gridCol>
              </a:tblGrid>
              <a:tr h="295410">
                <a:tc>
                  <a:txBody>
                    <a:bodyPr/>
                    <a:lstStyle/>
                    <a:p>
                      <a:pPr marL="171450" marR="0" lvl="0" indent="-1714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中国 </a:t>
                      </a:r>
                      <a:r>
                        <a:rPr lang="en-US" altLang="zh-CN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SCO  II</a:t>
                      </a:r>
                      <a:r>
                        <a:rPr lang="zh-CN" altLang="en-US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级推荐（</a:t>
                      </a:r>
                      <a:r>
                        <a:rPr lang="en-US" altLang="zh-CN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22</a:t>
                      </a:r>
                      <a:r>
                        <a:rPr lang="zh-CN" altLang="en-US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</a:t>
                      </a:r>
                      <a:r>
                        <a:rPr kumimoji="1" lang="en-US" altLang="zh-CN" sz="1100" b="0" i="0" kern="100" baseline="30000" noProof="0" dirty="0">
                          <a:solidFill>
                            <a:schemeClr val="dk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 [5]</a:t>
                      </a:r>
                      <a:endParaRPr lang="en-US" altLang="zh-CN" sz="1100" baseline="30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美国 </a:t>
                      </a:r>
                      <a:r>
                        <a:rPr lang="en-US" altLang="zh-CN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NCCN 2A</a:t>
                      </a:r>
                      <a:r>
                        <a:rPr lang="zh-CN" altLang="en-US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级推荐（</a:t>
                      </a:r>
                      <a:r>
                        <a:rPr lang="en-US" altLang="zh-CN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22 v2</a:t>
                      </a:r>
                      <a:r>
                        <a:rPr lang="zh-CN" altLang="en-US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</a:t>
                      </a:r>
                      <a:r>
                        <a:rPr kumimoji="1" lang="en-US" altLang="zh-CN" sz="1100" b="0" i="0" kern="100" baseline="30000" noProof="0" dirty="0">
                          <a:solidFill>
                            <a:schemeClr val="dk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 [6]</a:t>
                      </a:r>
                      <a:endParaRPr lang="en-US" altLang="zh-CN" sz="1100" baseline="30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欧洲 </a:t>
                      </a:r>
                      <a:r>
                        <a:rPr lang="en-US" altLang="zh-CN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ESMO</a:t>
                      </a:r>
                      <a:r>
                        <a:rPr lang="zh-CN" altLang="en-US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</a:t>
                      </a:r>
                      <a:r>
                        <a:rPr lang="en-US" altLang="zh-CN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18</a:t>
                      </a:r>
                      <a:r>
                        <a:rPr lang="zh-CN" altLang="en-US" sz="11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</a:t>
                      </a:r>
                      <a:r>
                        <a:rPr kumimoji="1" lang="en-US" altLang="zh-CN" sz="1100" b="0" i="0" kern="100" baseline="30000" noProof="0" dirty="0">
                          <a:solidFill>
                            <a:schemeClr val="dk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 [7]</a:t>
                      </a:r>
                      <a:endParaRPr lang="en-US" altLang="zh-CN" sz="1100" baseline="30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4661746"/>
                  </a:ext>
                </a:extLst>
              </a:tr>
            </a:tbl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792B9570-6749-459C-979B-B32FE5776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52516"/>
            <a:ext cx="11086256" cy="703942"/>
          </a:xfrm>
        </p:spPr>
        <p:txBody>
          <a:bodyPr vert="horz"/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维布妥昔单抗治疗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R/R </a:t>
            </a:r>
            <a:r>
              <a:rPr kumimoji="0" lang="en-US" altLang="zh-CN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cHL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，</a:t>
            </a:r>
            <a:r>
              <a:rPr kumimoji="0" lang="en-US" altLang="zh-CN" sz="3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CR</a:t>
            </a:r>
            <a:r>
              <a:rPr kumimoji="0" lang="zh-CN" altLang="en-US" sz="3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患者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5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年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S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率 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64%</a:t>
            </a:r>
            <a:b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</a:br>
            <a:r>
              <a:rPr kumimoji="0" lang="en-US" altLang="zh-CN" sz="3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——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达到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潜在临床治愈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；</a:t>
            </a:r>
            <a:r>
              <a:rPr kumimoji="0" lang="en-US" altLang="zh-CN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pcALCL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00%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实现完全缓解</a:t>
            </a:r>
            <a:endParaRPr lang="zh-CN" altLang="en-US" sz="3600" dirty="0">
              <a:ea typeface="Microsoft YaHei" panose="020B0503020204020204" pitchFamily="34" charset="-122"/>
            </a:endParaRPr>
          </a:p>
        </p:txBody>
      </p:sp>
      <p:grpSp>
        <p:nvGrpSpPr>
          <p:cNvPr id="74" name="组合 73">
            <a:extLst>
              <a:ext uri="{FF2B5EF4-FFF2-40B4-BE49-F238E27FC236}">
                <a16:creationId xmlns:a16="http://schemas.microsoft.com/office/drawing/2014/main" id="{FB0E0C80-E457-413C-9061-9115ECF8B0F0}"/>
              </a:ext>
            </a:extLst>
          </p:cNvPr>
          <p:cNvGrpSpPr/>
          <p:nvPr/>
        </p:nvGrpSpPr>
        <p:grpSpPr>
          <a:xfrm>
            <a:off x="586652" y="1939504"/>
            <a:ext cx="4761982" cy="2281929"/>
            <a:chOff x="1050178" y="1024055"/>
            <a:chExt cx="2546550" cy="1747219"/>
          </a:xfrm>
        </p:grpSpPr>
        <p:sp>
          <p:nvSpPr>
            <p:cNvPr id="77" name="object 34">
              <a:extLst>
                <a:ext uri="{FF2B5EF4-FFF2-40B4-BE49-F238E27FC236}">
                  <a16:creationId xmlns:a16="http://schemas.microsoft.com/office/drawing/2014/main" id="{AABD5D70-6E1D-46F8-8C67-0DABE09CE90B}"/>
                </a:ext>
              </a:extLst>
            </p:cNvPr>
            <p:cNvSpPr/>
            <p:nvPr/>
          </p:nvSpPr>
          <p:spPr>
            <a:xfrm>
              <a:off x="1274737" y="2488501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991" y="0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35">
              <a:extLst>
                <a:ext uri="{FF2B5EF4-FFF2-40B4-BE49-F238E27FC236}">
                  <a16:creationId xmlns:a16="http://schemas.microsoft.com/office/drawing/2014/main" id="{04F5FB78-CA90-480A-9494-87751CB8B4C1}"/>
                </a:ext>
              </a:extLst>
            </p:cNvPr>
            <p:cNvSpPr/>
            <p:nvPr/>
          </p:nvSpPr>
          <p:spPr>
            <a:xfrm>
              <a:off x="1274737" y="2347328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991" y="0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36">
              <a:extLst>
                <a:ext uri="{FF2B5EF4-FFF2-40B4-BE49-F238E27FC236}">
                  <a16:creationId xmlns:a16="http://schemas.microsoft.com/office/drawing/2014/main" id="{5B62AFFF-ABA8-48FB-BA87-6AC5AE139C41}"/>
                </a:ext>
              </a:extLst>
            </p:cNvPr>
            <p:cNvSpPr/>
            <p:nvPr/>
          </p:nvSpPr>
          <p:spPr>
            <a:xfrm>
              <a:off x="1274737" y="2206180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991" y="0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37">
              <a:extLst>
                <a:ext uri="{FF2B5EF4-FFF2-40B4-BE49-F238E27FC236}">
                  <a16:creationId xmlns:a16="http://schemas.microsoft.com/office/drawing/2014/main" id="{BEB43C97-BCA2-4A9A-B9ED-7F7D9E5A9572}"/>
                </a:ext>
              </a:extLst>
            </p:cNvPr>
            <p:cNvSpPr/>
            <p:nvPr/>
          </p:nvSpPr>
          <p:spPr>
            <a:xfrm>
              <a:off x="1274737" y="2065020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991" y="0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38">
              <a:extLst>
                <a:ext uri="{FF2B5EF4-FFF2-40B4-BE49-F238E27FC236}">
                  <a16:creationId xmlns:a16="http://schemas.microsoft.com/office/drawing/2014/main" id="{38758563-08D0-49EE-80FF-C69636B920D3}"/>
                </a:ext>
              </a:extLst>
            </p:cNvPr>
            <p:cNvSpPr/>
            <p:nvPr/>
          </p:nvSpPr>
          <p:spPr>
            <a:xfrm>
              <a:off x="1274737" y="1923859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991" y="0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" name="object 39">
              <a:extLst>
                <a:ext uri="{FF2B5EF4-FFF2-40B4-BE49-F238E27FC236}">
                  <a16:creationId xmlns:a16="http://schemas.microsoft.com/office/drawing/2014/main" id="{0375DF45-99DF-4AC8-9286-C8A7D1D8643D}"/>
                </a:ext>
              </a:extLst>
            </p:cNvPr>
            <p:cNvSpPr/>
            <p:nvPr/>
          </p:nvSpPr>
          <p:spPr>
            <a:xfrm>
              <a:off x="1274737" y="1782699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991" y="0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40">
              <a:extLst>
                <a:ext uri="{FF2B5EF4-FFF2-40B4-BE49-F238E27FC236}">
                  <a16:creationId xmlns:a16="http://schemas.microsoft.com/office/drawing/2014/main" id="{924818A7-376D-4C4C-9A7F-45AFAF58E20C}"/>
                </a:ext>
              </a:extLst>
            </p:cNvPr>
            <p:cNvSpPr/>
            <p:nvPr/>
          </p:nvSpPr>
          <p:spPr>
            <a:xfrm>
              <a:off x="1274737" y="1641538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991" y="0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41">
              <a:extLst>
                <a:ext uri="{FF2B5EF4-FFF2-40B4-BE49-F238E27FC236}">
                  <a16:creationId xmlns:a16="http://schemas.microsoft.com/office/drawing/2014/main" id="{6873C90A-1D27-4AA9-BE98-03970F099B7A}"/>
                </a:ext>
              </a:extLst>
            </p:cNvPr>
            <p:cNvSpPr/>
            <p:nvPr/>
          </p:nvSpPr>
          <p:spPr>
            <a:xfrm>
              <a:off x="1274737" y="1500378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991" y="0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" name="object 42">
              <a:extLst>
                <a:ext uri="{FF2B5EF4-FFF2-40B4-BE49-F238E27FC236}">
                  <a16:creationId xmlns:a16="http://schemas.microsoft.com/office/drawing/2014/main" id="{87061754-2A11-4930-BFA2-FE2C5F1C4BC5}"/>
                </a:ext>
              </a:extLst>
            </p:cNvPr>
            <p:cNvSpPr/>
            <p:nvPr/>
          </p:nvSpPr>
          <p:spPr>
            <a:xfrm>
              <a:off x="1274737" y="1359217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991" y="0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" name="object 43">
              <a:extLst>
                <a:ext uri="{FF2B5EF4-FFF2-40B4-BE49-F238E27FC236}">
                  <a16:creationId xmlns:a16="http://schemas.microsoft.com/office/drawing/2014/main" id="{FAD5154A-175E-4427-A475-2875A89EA521}"/>
                </a:ext>
              </a:extLst>
            </p:cNvPr>
            <p:cNvSpPr/>
            <p:nvPr/>
          </p:nvSpPr>
          <p:spPr>
            <a:xfrm>
              <a:off x="1274737" y="1218070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991" y="0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" name="object 44">
              <a:extLst>
                <a:ext uri="{FF2B5EF4-FFF2-40B4-BE49-F238E27FC236}">
                  <a16:creationId xmlns:a16="http://schemas.microsoft.com/office/drawing/2014/main" id="{061C54A3-C81A-4A33-9104-C1E0AA3D6115}"/>
                </a:ext>
              </a:extLst>
            </p:cNvPr>
            <p:cNvSpPr/>
            <p:nvPr/>
          </p:nvSpPr>
          <p:spPr>
            <a:xfrm>
              <a:off x="1274737" y="1076909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991" y="0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" name="object 45">
              <a:extLst>
                <a:ext uri="{FF2B5EF4-FFF2-40B4-BE49-F238E27FC236}">
                  <a16:creationId xmlns:a16="http://schemas.microsoft.com/office/drawing/2014/main" id="{C056163D-FEEB-484F-BA1F-72A06E647BCD}"/>
                </a:ext>
              </a:extLst>
            </p:cNvPr>
            <p:cNvSpPr/>
            <p:nvPr/>
          </p:nvSpPr>
          <p:spPr>
            <a:xfrm>
              <a:off x="1348765" y="2506421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0"/>
                  </a:moveTo>
                  <a:lnTo>
                    <a:pt x="0" y="35991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" name="object 46">
              <a:extLst>
                <a:ext uri="{FF2B5EF4-FFF2-40B4-BE49-F238E27FC236}">
                  <a16:creationId xmlns:a16="http://schemas.microsoft.com/office/drawing/2014/main" id="{EAD11F8C-6422-4703-9B3B-4D3F339C6AEB}"/>
                </a:ext>
              </a:extLst>
            </p:cNvPr>
            <p:cNvSpPr/>
            <p:nvPr/>
          </p:nvSpPr>
          <p:spPr>
            <a:xfrm>
              <a:off x="1621053" y="2506421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0"/>
                  </a:moveTo>
                  <a:lnTo>
                    <a:pt x="0" y="35991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" name="object 47">
              <a:extLst>
                <a:ext uri="{FF2B5EF4-FFF2-40B4-BE49-F238E27FC236}">
                  <a16:creationId xmlns:a16="http://schemas.microsoft.com/office/drawing/2014/main" id="{EA9272A3-01D2-40B1-A5D1-CF95047CA38E}"/>
                </a:ext>
              </a:extLst>
            </p:cNvPr>
            <p:cNvSpPr/>
            <p:nvPr/>
          </p:nvSpPr>
          <p:spPr>
            <a:xfrm>
              <a:off x="1893341" y="2506421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0"/>
                  </a:moveTo>
                  <a:lnTo>
                    <a:pt x="0" y="35991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" name="object 48">
              <a:extLst>
                <a:ext uri="{FF2B5EF4-FFF2-40B4-BE49-F238E27FC236}">
                  <a16:creationId xmlns:a16="http://schemas.microsoft.com/office/drawing/2014/main" id="{810AF69F-EF16-482F-8BA3-32DC708E7591}"/>
                </a:ext>
              </a:extLst>
            </p:cNvPr>
            <p:cNvSpPr/>
            <p:nvPr/>
          </p:nvSpPr>
          <p:spPr>
            <a:xfrm>
              <a:off x="2165629" y="2506421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0"/>
                  </a:moveTo>
                  <a:lnTo>
                    <a:pt x="0" y="35991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" name="object 49">
              <a:extLst>
                <a:ext uri="{FF2B5EF4-FFF2-40B4-BE49-F238E27FC236}">
                  <a16:creationId xmlns:a16="http://schemas.microsoft.com/office/drawing/2014/main" id="{B4DD3530-21EA-48F7-9AE6-28C92EA6DA92}"/>
                </a:ext>
              </a:extLst>
            </p:cNvPr>
            <p:cNvSpPr/>
            <p:nvPr/>
          </p:nvSpPr>
          <p:spPr>
            <a:xfrm>
              <a:off x="2438387" y="2506421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0"/>
                  </a:moveTo>
                  <a:lnTo>
                    <a:pt x="0" y="35991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" name="object 50">
              <a:extLst>
                <a:ext uri="{FF2B5EF4-FFF2-40B4-BE49-F238E27FC236}">
                  <a16:creationId xmlns:a16="http://schemas.microsoft.com/office/drawing/2014/main" id="{63E705C4-D4A9-40B7-9D7D-D99C993BB3F2}"/>
                </a:ext>
              </a:extLst>
            </p:cNvPr>
            <p:cNvSpPr/>
            <p:nvPr/>
          </p:nvSpPr>
          <p:spPr>
            <a:xfrm>
              <a:off x="2710688" y="2506421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0"/>
                  </a:moveTo>
                  <a:lnTo>
                    <a:pt x="0" y="35991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" name="object 51">
              <a:extLst>
                <a:ext uri="{FF2B5EF4-FFF2-40B4-BE49-F238E27FC236}">
                  <a16:creationId xmlns:a16="http://schemas.microsoft.com/office/drawing/2014/main" id="{370AD1CE-D331-4F3B-8F5A-DDE28453E35C}"/>
                </a:ext>
              </a:extLst>
            </p:cNvPr>
            <p:cNvSpPr/>
            <p:nvPr/>
          </p:nvSpPr>
          <p:spPr>
            <a:xfrm>
              <a:off x="2982963" y="2506421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0"/>
                  </a:moveTo>
                  <a:lnTo>
                    <a:pt x="0" y="35991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" name="object 52">
              <a:extLst>
                <a:ext uri="{FF2B5EF4-FFF2-40B4-BE49-F238E27FC236}">
                  <a16:creationId xmlns:a16="http://schemas.microsoft.com/office/drawing/2014/main" id="{89C66B1D-E5EC-409D-9A8F-A7F746AB6DDA}"/>
                </a:ext>
              </a:extLst>
            </p:cNvPr>
            <p:cNvSpPr/>
            <p:nvPr/>
          </p:nvSpPr>
          <p:spPr>
            <a:xfrm>
              <a:off x="3255264" y="2506421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0"/>
                  </a:moveTo>
                  <a:lnTo>
                    <a:pt x="0" y="35991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" name="object 53">
              <a:extLst>
                <a:ext uri="{FF2B5EF4-FFF2-40B4-BE49-F238E27FC236}">
                  <a16:creationId xmlns:a16="http://schemas.microsoft.com/office/drawing/2014/main" id="{4FF5AE70-C03B-444F-AABA-90876549F291}"/>
                </a:ext>
              </a:extLst>
            </p:cNvPr>
            <p:cNvSpPr/>
            <p:nvPr/>
          </p:nvSpPr>
          <p:spPr>
            <a:xfrm>
              <a:off x="3528021" y="2506421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0"/>
                  </a:moveTo>
                  <a:lnTo>
                    <a:pt x="0" y="35991"/>
                  </a:lnTo>
                </a:path>
              </a:pathLst>
            </a:custGeom>
            <a:ln w="63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42" name="object 54">
              <a:extLst>
                <a:ext uri="{FF2B5EF4-FFF2-40B4-BE49-F238E27FC236}">
                  <a16:creationId xmlns:a16="http://schemas.microsoft.com/office/drawing/2014/main" id="{8E644D09-D432-4D83-AB0A-6776D20DBC56}"/>
                </a:ext>
              </a:extLst>
            </p:cNvPr>
            <p:cNvGrpSpPr/>
            <p:nvPr/>
          </p:nvGrpSpPr>
          <p:grpSpPr>
            <a:xfrm>
              <a:off x="1344218" y="1076909"/>
              <a:ext cx="2252510" cy="991235"/>
              <a:chOff x="1344218" y="1076909"/>
              <a:chExt cx="2252510" cy="991235"/>
            </a:xfrm>
          </p:grpSpPr>
          <p:sp>
            <p:nvSpPr>
              <p:cNvPr id="151" name="object 55">
                <a:extLst>
                  <a:ext uri="{FF2B5EF4-FFF2-40B4-BE49-F238E27FC236}">
                    <a16:creationId xmlns:a16="http://schemas.microsoft.com/office/drawing/2014/main" id="{589D90F6-D6ED-4245-915A-71A6A91B6329}"/>
                  </a:ext>
                </a:extLst>
              </p:cNvPr>
              <p:cNvSpPr/>
              <p:nvPr/>
            </p:nvSpPr>
            <p:spPr>
              <a:xfrm>
                <a:off x="1412328" y="1076909"/>
                <a:ext cx="2184400" cy="991235"/>
              </a:xfrm>
              <a:custGeom>
                <a:avLst/>
                <a:gdLst/>
                <a:ahLst/>
                <a:cxnLst/>
                <a:rect l="l" t="t" r="r" b="b"/>
                <a:pathLst>
                  <a:path w="2184400" h="991235">
                    <a:moveTo>
                      <a:pt x="965174" y="473887"/>
                    </a:moveTo>
                    <a:lnTo>
                      <a:pt x="554939" y="473887"/>
                    </a:lnTo>
                    <a:lnTo>
                      <a:pt x="554939" y="487400"/>
                    </a:lnTo>
                    <a:lnTo>
                      <a:pt x="567918" y="487400"/>
                    </a:lnTo>
                    <a:lnTo>
                      <a:pt x="567918" y="503847"/>
                    </a:lnTo>
                    <a:lnTo>
                      <a:pt x="577481" y="503847"/>
                    </a:lnTo>
                    <a:lnTo>
                      <a:pt x="577481" y="520293"/>
                    </a:lnTo>
                    <a:lnTo>
                      <a:pt x="579869" y="520293"/>
                    </a:lnTo>
                    <a:lnTo>
                      <a:pt x="579869" y="535774"/>
                    </a:lnTo>
                    <a:lnTo>
                      <a:pt x="610476" y="535774"/>
                    </a:lnTo>
                    <a:lnTo>
                      <a:pt x="610476" y="551738"/>
                    </a:lnTo>
                    <a:lnTo>
                      <a:pt x="631520" y="551738"/>
                    </a:lnTo>
                    <a:lnTo>
                      <a:pt x="631520" y="568198"/>
                    </a:lnTo>
                    <a:lnTo>
                      <a:pt x="648246" y="568198"/>
                    </a:lnTo>
                    <a:lnTo>
                      <a:pt x="648246" y="600125"/>
                    </a:lnTo>
                    <a:lnTo>
                      <a:pt x="673595" y="600125"/>
                    </a:lnTo>
                    <a:lnTo>
                      <a:pt x="673595" y="613054"/>
                    </a:lnTo>
                    <a:lnTo>
                      <a:pt x="675982" y="613054"/>
                    </a:lnTo>
                    <a:lnTo>
                      <a:pt x="675982" y="632066"/>
                    </a:lnTo>
                    <a:lnTo>
                      <a:pt x="695591" y="632066"/>
                    </a:lnTo>
                    <a:lnTo>
                      <a:pt x="695591" y="648233"/>
                    </a:lnTo>
                    <a:lnTo>
                      <a:pt x="702779" y="648233"/>
                    </a:lnTo>
                    <a:lnTo>
                      <a:pt x="702779" y="663041"/>
                    </a:lnTo>
                    <a:lnTo>
                      <a:pt x="758723" y="663041"/>
                    </a:lnTo>
                    <a:lnTo>
                      <a:pt x="758723" y="678510"/>
                    </a:lnTo>
                    <a:lnTo>
                      <a:pt x="772591" y="678510"/>
                    </a:lnTo>
                    <a:lnTo>
                      <a:pt x="772591" y="693991"/>
                    </a:lnTo>
                    <a:lnTo>
                      <a:pt x="824496" y="693991"/>
                    </a:lnTo>
                    <a:lnTo>
                      <a:pt x="824496" y="709904"/>
                    </a:lnTo>
                    <a:lnTo>
                      <a:pt x="894067" y="709904"/>
                    </a:lnTo>
                    <a:lnTo>
                      <a:pt x="894067" y="725919"/>
                    </a:lnTo>
                    <a:lnTo>
                      <a:pt x="916076" y="725919"/>
                    </a:lnTo>
                    <a:lnTo>
                      <a:pt x="916076" y="741133"/>
                    </a:lnTo>
                    <a:lnTo>
                      <a:pt x="964844" y="741133"/>
                    </a:lnTo>
                    <a:lnTo>
                      <a:pt x="964844" y="755916"/>
                    </a:lnTo>
                    <a:lnTo>
                      <a:pt x="970114" y="755916"/>
                    </a:lnTo>
                    <a:lnTo>
                      <a:pt x="970114" y="771398"/>
                    </a:lnTo>
                    <a:lnTo>
                      <a:pt x="1007402" y="771398"/>
                    </a:lnTo>
                    <a:lnTo>
                      <a:pt x="1007402" y="787793"/>
                    </a:lnTo>
                    <a:lnTo>
                      <a:pt x="1074851" y="787793"/>
                    </a:lnTo>
                    <a:lnTo>
                      <a:pt x="1074851" y="803325"/>
                    </a:lnTo>
                    <a:lnTo>
                      <a:pt x="1125550" y="803325"/>
                    </a:lnTo>
                    <a:lnTo>
                      <a:pt x="1125550" y="819289"/>
                    </a:lnTo>
                    <a:lnTo>
                      <a:pt x="1153248" y="819289"/>
                    </a:lnTo>
                    <a:lnTo>
                      <a:pt x="1153248" y="835253"/>
                    </a:lnTo>
                    <a:lnTo>
                      <a:pt x="1190091" y="835253"/>
                    </a:lnTo>
                    <a:lnTo>
                      <a:pt x="1190091" y="850265"/>
                    </a:lnTo>
                    <a:lnTo>
                      <a:pt x="1203972" y="850265"/>
                    </a:lnTo>
                    <a:lnTo>
                      <a:pt x="1203972" y="863803"/>
                    </a:lnTo>
                    <a:lnTo>
                      <a:pt x="1207325" y="863803"/>
                    </a:lnTo>
                    <a:lnTo>
                      <a:pt x="1207325" y="881481"/>
                    </a:lnTo>
                    <a:lnTo>
                      <a:pt x="1237919" y="881481"/>
                    </a:lnTo>
                    <a:lnTo>
                      <a:pt x="1237919" y="897674"/>
                    </a:lnTo>
                    <a:lnTo>
                      <a:pt x="1424444" y="897674"/>
                    </a:lnTo>
                    <a:lnTo>
                      <a:pt x="1424444" y="913904"/>
                    </a:lnTo>
                    <a:lnTo>
                      <a:pt x="1569834" y="913904"/>
                    </a:lnTo>
                    <a:lnTo>
                      <a:pt x="1569834" y="927341"/>
                    </a:lnTo>
                    <a:lnTo>
                      <a:pt x="1573187" y="927341"/>
                    </a:lnTo>
                    <a:lnTo>
                      <a:pt x="1573187" y="943165"/>
                    </a:lnTo>
                    <a:lnTo>
                      <a:pt x="1594751" y="943165"/>
                    </a:lnTo>
                    <a:lnTo>
                      <a:pt x="1592072" y="959104"/>
                    </a:lnTo>
                    <a:lnTo>
                      <a:pt x="1713306" y="959104"/>
                    </a:lnTo>
                    <a:lnTo>
                      <a:pt x="1713306" y="974598"/>
                    </a:lnTo>
                    <a:lnTo>
                      <a:pt x="1850085" y="974598"/>
                    </a:lnTo>
                    <a:lnTo>
                      <a:pt x="1850085" y="990904"/>
                    </a:lnTo>
                    <a:lnTo>
                      <a:pt x="2184196" y="990904"/>
                    </a:lnTo>
                    <a:lnTo>
                      <a:pt x="2184196" y="710399"/>
                    </a:lnTo>
                    <a:lnTo>
                      <a:pt x="1850567" y="710399"/>
                    </a:lnTo>
                    <a:lnTo>
                      <a:pt x="1850567" y="693508"/>
                    </a:lnTo>
                    <a:lnTo>
                      <a:pt x="1713547" y="693508"/>
                    </a:lnTo>
                    <a:lnTo>
                      <a:pt x="1713547" y="677049"/>
                    </a:lnTo>
                    <a:lnTo>
                      <a:pt x="1591843" y="677049"/>
                    </a:lnTo>
                    <a:lnTo>
                      <a:pt x="1591843" y="661479"/>
                    </a:lnTo>
                    <a:lnTo>
                      <a:pt x="1573187" y="661479"/>
                    </a:lnTo>
                    <a:lnTo>
                      <a:pt x="1573187" y="645121"/>
                    </a:lnTo>
                    <a:lnTo>
                      <a:pt x="1570786" y="645121"/>
                    </a:lnTo>
                    <a:lnTo>
                      <a:pt x="1570786" y="629145"/>
                    </a:lnTo>
                    <a:lnTo>
                      <a:pt x="1424444" y="629145"/>
                    </a:lnTo>
                    <a:lnTo>
                      <a:pt x="1424444" y="614032"/>
                    </a:lnTo>
                    <a:lnTo>
                      <a:pt x="1238885" y="614032"/>
                    </a:lnTo>
                    <a:lnTo>
                      <a:pt x="1238885" y="597712"/>
                    </a:lnTo>
                    <a:lnTo>
                      <a:pt x="1208278" y="597712"/>
                    </a:lnTo>
                    <a:lnTo>
                      <a:pt x="1208278" y="582701"/>
                    </a:lnTo>
                    <a:lnTo>
                      <a:pt x="1203972" y="582701"/>
                    </a:lnTo>
                    <a:lnTo>
                      <a:pt x="1203972" y="567232"/>
                    </a:lnTo>
                    <a:lnTo>
                      <a:pt x="1190574" y="567232"/>
                    </a:lnTo>
                    <a:lnTo>
                      <a:pt x="1190574" y="551268"/>
                    </a:lnTo>
                    <a:lnTo>
                      <a:pt x="1154239" y="551268"/>
                    </a:lnTo>
                    <a:lnTo>
                      <a:pt x="1154239" y="536638"/>
                    </a:lnTo>
                    <a:lnTo>
                      <a:pt x="1126032" y="536638"/>
                    </a:lnTo>
                    <a:lnTo>
                      <a:pt x="1126032" y="520776"/>
                    </a:lnTo>
                    <a:lnTo>
                      <a:pt x="1073632" y="520776"/>
                    </a:lnTo>
                    <a:lnTo>
                      <a:pt x="1075093" y="505790"/>
                    </a:lnTo>
                    <a:lnTo>
                      <a:pt x="1006932" y="505790"/>
                    </a:lnTo>
                    <a:lnTo>
                      <a:pt x="1006932" y="491274"/>
                    </a:lnTo>
                    <a:lnTo>
                      <a:pt x="970114" y="491274"/>
                    </a:lnTo>
                    <a:lnTo>
                      <a:pt x="970114" y="476275"/>
                    </a:lnTo>
                    <a:lnTo>
                      <a:pt x="965174" y="476275"/>
                    </a:lnTo>
                    <a:lnTo>
                      <a:pt x="965174" y="473887"/>
                    </a:lnTo>
                    <a:close/>
                  </a:path>
                  <a:path w="2184400" h="991235">
                    <a:moveTo>
                      <a:pt x="1001179" y="490400"/>
                    </a:moveTo>
                    <a:lnTo>
                      <a:pt x="988523" y="490497"/>
                    </a:lnTo>
                    <a:lnTo>
                      <a:pt x="975867" y="490982"/>
                    </a:lnTo>
                    <a:lnTo>
                      <a:pt x="970114" y="491274"/>
                    </a:lnTo>
                    <a:lnTo>
                      <a:pt x="1006932" y="491274"/>
                    </a:lnTo>
                    <a:lnTo>
                      <a:pt x="1001179" y="490400"/>
                    </a:lnTo>
                    <a:close/>
                  </a:path>
                  <a:path w="2184400" h="991235">
                    <a:moveTo>
                      <a:pt x="673544" y="335000"/>
                    </a:moveTo>
                    <a:lnTo>
                      <a:pt x="383781" y="335000"/>
                    </a:lnTo>
                    <a:lnTo>
                      <a:pt x="383781" y="352907"/>
                    </a:lnTo>
                    <a:lnTo>
                      <a:pt x="385699" y="352907"/>
                    </a:lnTo>
                    <a:lnTo>
                      <a:pt x="385699" y="369519"/>
                    </a:lnTo>
                    <a:lnTo>
                      <a:pt x="407695" y="369519"/>
                    </a:lnTo>
                    <a:lnTo>
                      <a:pt x="407695" y="387248"/>
                    </a:lnTo>
                    <a:lnTo>
                      <a:pt x="495693" y="387248"/>
                    </a:lnTo>
                    <a:lnTo>
                      <a:pt x="495693" y="420509"/>
                    </a:lnTo>
                    <a:lnTo>
                      <a:pt x="505256" y="420509"/>
                    </a:lnTo>
                    <a:lnTo>
                      <a:pt x="505256" y="437515"/>
                    </a:lnTo>
                    <a:lnTo>
                      <a:pt x="507644" y="437515"/>
                    </a:lnTo>
                    <a:lnTo>
                      <a:pt x="507644" y="454507"/>
                    </a:lnTo>
                    <a:lnTo>
                      <a:pt x="550214" y="454507"/>
                    </a:lnTo>
                    <a:lnTo>
                      <a:pt x="550214" y="473887"/>
                    </a:lnTo>
                    <a:lnTo>
                      <a:pt x="554939" y="475475"/>
                    </a:lnTo>
                    <a:lnTo>
                      <a:pt x="554939" y="473887"/>
                    </a:lnTo>
                    <a:lnTo>
                      <a:pt x="965174" y="473887"/>
                    </a:lnTo>
                    <a:lnTo>
                      <a:pt x="965174" y="461759"/>
                    </a:lnTo>
                    <a:lnTo>
                      <a:pt x="916076" y="461759"/>
                    </a:lnTo>
                    <a:lnTo>
                      <a:pt x="916076" y="447243"/>
                    </a:lnTo>
                    <a:lnTo>
                      <a:pt x="894067" y="447243"/>
                    </a:lnTo>
                    <a:lnTo>
                      <a:pt x="894067" y="433463"/>
                    </a:lnTo>
                    <a:lnTo>
                      <a:pt x="825195" y="433463"/>
                    </a:lnTo>
                    <a:lnTo>
                      <a:pt x="825195" y="418223"/>
                    </a:lnTo>
                    <a:lnTo>
                      <a:pt x="773074" y="418223"/>
                    </a:lnTo>
                    <a:lnTo>
                      <a:pt x="773074" y="404177"/>
                    </a:lnTo>
                    <a:lnTo>
                      <a:pt x="757770" y="404177"/>
                    </a:lnTo>
                    <a:lnTo>
                      <a:pt x="759129" y="390144"/>
                    </a:lnTo>
                    <a:lnTo>
                      <a:pt x="703249" y="390144"/>
                    </a:lnTo>
                    <a:lnTo>
                      <a:pt x="703249" y="376605"/>
                    </a:lnTo>
                    <a:lnTo>
                      <a:pt x="695591" y="376605"/>
                    </a:lnTo>
                    <a:lnTo>
                      <a:pt x="695591" y="362585"/>
                    </a:lnTo>
                    <a:lnTo>
                      <a:pt x="676465" y="362585"/>
                    </a:lnTo>
                    <a:lnTo>
                      <a:pt x="676465" y="348907"/>
                    </a:lnTo>
                    <a:lnTo>
                      <a:pt x="672998" y="348907"/>
                    </a:lnTo>
                    <a:lnTo>
                      <a:pt x="674077" y="347802"/>
                    </a:lnTo>
                    <a:lnTo>
                      <a:pt x="673544" y="335000"/>
                    </a:lnTo>
                    <a:close/>
                  </a:path>
                  <a:path w="2184400" h="991235">
                    <a:moveTo>
                      <a:pt x="695591" y="361975"/>
                    </a:moveTo>
                    <a:lnTo>
                      <a:pt x="676465" y="362585"/>
                    </a:lnTo>
                    <a:lnTo>
                      <a:pt x="695591" y="362585"/>
                    </a:lnTo>
                    <a:lnTo>
                      <a:pt x="695591" y="361975"/>
                    </a:lnTo>
                    <a:close/>
                  </a:path>
                  <a:path w="2184400" h="991235">
                    <a:moveTo>
                      <a:pt x="676465" y="347179"/>
                    </a:moveTo>
                    <a:lnTo>
                      <a:pt x="672998" y="348907"/>
                    </a:lnTo>
                    <a:lnTo>
                      <a:pt x="676465" y="348907"/>
                    </a:lnTo>
                    <a:lnTo>
                      <a:pt x="676465" y="347179"/>
                    </a:lnTo>
                    <a:close/>
                  </a:path>
                  <a:path w="2184400" h="991235">
                    <a:moveTo>
                      <a:pt x="154698" y="0"/>
                    </a:moveTo>
                    <a:lnTo>
                      <a:pt x="0" y="101"/>
                    </a:lnTo>
                    <a:lnTo>
                      <a:pt x="0" y="41706"/>
                    </a:lnTo>
                    <a:lnTo>
                      <a:pt x="56197" y="41808"/>
                    </a:lnTo>
                    <a:lnTo>
                      <a:pt x="56197" y="66497"/>
                    </a:lnTo>
                    <a:lnTo>
                      <a:pt x="79616" y="66497"/>
                    </a:lnTo>
                    <a:lnTo>
                      <a:pt x="79616" y="88747"/>
                    </a:lnTo>
                    <a:lnTo>
                      <a:pt x="154698" y="88747"/>
                    </a:lnTo>
                    <a:lnTo>
                      <a:pt x="154698" y="109778"/>
                    </a:lnTo>
                    <a:lnTo>
                      <a:pt x="167144" y="109778"/>
                    </a:lnTo>
                    <a:lnTo>
                      <a:pt x="167144" y="131800"/>
                    </a:lnTo>
                    <a:lnTo>
                      <a:pt x="217360" y="131800"/>
                    </a:lnTo>
                    <a:lnTo>
                      <a:pt x="217360" y="152107"/>
                    </a:lnTo>
                    <a:lnTo>
                      <a:pt x="232663" y="152107"/>
                    </a:lnTo>
                    <a:lnTo>
                      <a:pt x="232663" y="171958"/>
                    </a:lnTo>
                    <a:lnTo>
                      <a:pt x="253631" y="171958"/>
                    </a:lnTo>
                    <a:lnTo>
                      <a:pt x="253631" y="191312"/>
                    </a:lnTo>
                    <a:lnTo>
                      <a:pt x="271640" y="191312"/>
                    </a:lnTo>
                    <a:lnTo>
                      <a:pt x="271640" y="209689"/>
                    </a:lnTo>
                    <a:lnTo>
                      <a:pt x="276174" y="209689"/>
                    </a:lnTo>
                    <a:lnTo>
                      <a:pt x="276174" y="228561"/>
                    </a:lnTo>
                    <a:lnTo>
                      <a:pt x="285750" y="228561"/>
                    </a:lnTo>
                    <a:lnTo>
                      <a:pt x="285750" y="246951"/>
                    </a:lnTo>
                    <a:lnTo>
                      <a:pt x="323049" y="246951"/>
                    </a:lnTo>
                    <a:lnTo>
                      <a:pt x="323049" y="264845"/>
                    </a:lnTo>
                    <a:lnTo>
                      <a:pt x="331177" y="264845"/>
                    </a:lnTo>
                    <a:lnTo>
                      <a:pt x="331177" y="283464"/>
                    </a:lnTo>
                    <a:lnTo>
                      <a:pt x="338112" y="283464"/>
                    </a:lnTo>
                    <a:lnTo>
                      <a:pt x="338112" y="300723"/>
                    </a:lnTo>
                    <a:lnTo>
                      <a:pt x="350786" y="300723"/>
                    </a:lnTo>
                    <a:lnTo>
                      <a:pt x="350786" y="317093"/>
                    </a:lnTo>
                    <a:lnTo>
                      <a:pt x="377571" y="317093"/>
                    </a:lnTo>
                    <a:lnTo>
                      <a:pt x="377571" y="335000"/>
                    </a:lnTo>
                    <a:lnTo>
                      <a:pt x="647306" y="335000"/>
                    </a:lnTo>
                    <a:lnTo>
                      <a:pt x="647306" y="308330"/>
                    </a:lnTo>
                    <a:lnTo>
                      <a:pt x="631520" y="308330"/>
                    </a:lnTo>
                    <a:lnTo>
                      <a:pt x="631520" y="294347"/>
                    </a:lnTo>
                    <a:lnTo>
                      <a:pt x="610476" y="294347"/>
                    </a:lnTo>
                    <a:lnTo>
                      <a:pt x="610476" y="281940"/>
                    </a:lnTo>
                    <a:lnTo>
                      <a:pt x="583704" y="281940"/>
                    </a:lnTo>
                    <a:lnTo>
                      <a:pt x="583704" y="275488"/>
                    </a:lnTo>
                    <a:lnTo>
                      <a:pt x="578675" y="275488"/>
                    </a:lnTo>
                    <a:lnTo>
                      <a:pt x="578675" y="267754"/>
                    </a:lnTo>
                    <a:lnTo>
                      <a:pt x="576999" y="267754"/>
                    </a:lnTo>
                    <a:lnTo>
                      <a:pt x="576999" y="254685"/>
                    </a:lnTo>
                    <a:lnTo>
                      <a:pt x="568388" y="254685"/>
                    </a:lnTo>
                    <a:lnTo>
                      <a:pt x="568388" y="241630"/>
                    </a:lnTo>
                    <a:lnTo>
                      <a:pt x="555421" y="241630"/>
                    </a:lnTo>
                    <a:lnTo>
                      <a:pt x="555421" y="229527"/>
                    </a:lnTo>
                    <a:lnTo>
                      <a:pt x="549744" y="229527"/>
                    </a:lnTo>
                    <a:lnTo>
                      <a:pt x="549744" y="215506"/>
                    </a:lnTo>
                    <a:lnTo>
                      <a:pt x="507174" y="215506"/>
                    </a:lnTo>
                    <a:lnTo>
                      <a:pt x="507174" y="202488"/>
                    </a:lnTo>
                    <a:lnTo>
                      <a:pt x="505028" y="202488"/>
                    </a:lnTo>
                    <a:lnTo>
                      <a:pt x="505028" y="189433"/>
                    </a:lnTo>
                    <a:lnTo>
                      <a:pt x="495693" y="189433"/>
                    </a:lnTo>
                    <a:lnTo>
                      <a:pt x="495693" y="164706"/>
                    </a:lnTo>
                    <a:lnTo>
                      <a:pt x="408000" y="164706"/>
                    </a:lnTo>
                    <a:lnTo>
                      <a:pt x="408000" y="153263"/>
                    </a:lnTo>
                    <a:lnTo>
                      <a:pt x="383781" y="153263"/>
                    </a:lnTo>
                    <a:lnTo>
                      <a:pt x="383781" y="127457"/>
                    </a:lnTo>
                    <a:lnTo>
                      <a:pt x="377571" y="127457"/>
                    </a:lnTo>
                    <a:lnTo>
                      <a:pt x="377571" y="116319"/>
                    </a:lnTo>
                    <a:lnTo>
                      <a:pt x="350786" y="116319"/>
                    </a:lnTo>
                    <a:lnTo>
                      <a:pt x="350786" y="104038"/>
                    </a:lnTo>
                    <a:lnTo>
                      <a:pt x="338353" y="104038"/>
                    </a:lnTo>
                    <a:lnTo>
                      <a:pt x="338353" y="92468"/>
                    </a:lnTo>
                    <a:lnTo>
                      <a:pt x="330225" y="92468"/>
                    </a:lnTo>
                    <a:lnTo>
                      <a:pt x="330225" y="81483"/>
                    </a:lnTo>
                    <a:lnTo>
                      <a:pt x="323773" y="81483"/>
                    </a:lnTo>
                    <a:lnTo>
                      <a:pt x="323773" y="70231"/>
                    </a:lnTo>
                    <a:lnTo>
                      <a:pt x="285267" y="70231"/>
                    </a:lnTo>
                    <a:lnTo>
                      <a:pt x="285267" y="59258"/>
                    </a:lnTo>
                    <a:lnTo>
                      <a:pt x="276174" y="59258"/>
                    </a:lnTo>
                    <a:lnTo>
                      <a:pt x="276174" y="52946"/>
                    </a:lnTo>
                    <a:lnTo>
                      <a:pt x="271640" y="52946"/>
                    </a:lnTo>
                    <a:lnTo>
                      <a:pt x="271640" y="38201"/>
                    </a:lnTo>
                    <a:lnTo>
                      <a:pt x="255587" y="38201"/>
                    </a:lnTo>
                    <a:lnTo>
                      <a:pt x="255587" y="29222"/>
                    </a:lnTo>
                    <a:lnTo>
                      <a:pt x="233616" y="29222"/>
                    </a:lnTo>
                    <a:lnTo>
                      <a:pt x="233616" y="19558"/>
                    </a:lnTo>
                    <a:lnTo>
                      <a:pt x="217360" y="19558"/>
                    </a:lnTo>
                    <a:lnTo>
                      <a:pt x="217360" y="10845"/>
                    </a:lnTo>
                    <a:lnTo>
                      <a:pt x="167614" y="10845"/>
                    </a:lnTo>
                    <a:lnTo>
                      <a:pt x="167614" y="3340"/>
                    </a:lnTo>
                    <a:lnTo>
                      <a:pt x="154698" y="3340"/>
                    </a:lnTo>
                    <a:lnTo>
                      <a:pt x="154698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52" name="object 56">
                <a:extLst>
                  <a:ext uri="{FF2B5EF4-FFF2-40B4-BE49-F238E27FC236}">
                    <a16:creationId xmlns:a16="http://schemas.microsoft.com/office/drawing/2014/main" id="{B0780E7A-F845-444E-83F5-6C5E9A5FE0D8}"/>
                  </a:ext>
                </a:extLst>
              </p:cNvPr>
              <p:cNvSpPr/>
              <p:nvPr/>
            </p:nvSpPr>
            <p:spPr>
              <a:xfrm>
                <a:off x="1344218" y="1077392"/>
                <a:ext cx="2206625" cy="850265"/>
              </a:xfrm>
              <a:custGeom>
                <a:avLst/>
                <a:gdLst/>
                <a:ahLst/>
                <a:cxnLst/>
                <a:rect l="l" t="t" r="r" b="b"/>
                <a:pathLst>
                  <a:path w="2206625" h="850264">
                    <a:moveTo>
                      <a:pt x="2206599" y="849858"/>
                    </a:moveTo>
                    <a:lnTo>
                      <a:pt x="1879091" y="849858"/>
                    </a:lnTo>
                    <a:lnTo>
                      <a:pt x="1879091" y="833399"/>
                    </a:lnTo>
                    <a:lnTo>
                      <a:pt x="1744840" y="833399"/>
                    </a:lnTo>
                    <a:lnTo>
                      <a:pt x="1744840" y="817410"/>
                    </a:lnTo>
                    <a:lnTo>
                      <a:pt x="1726359" y="816413"/>
                    </a:lnTo>
                    <a:lnTo>
                      <a:pt x="1685702" y="816524"/>
                    </a:lnTo>
                    <a:lnTo>
                      <a:pt x="1645045" y="817077"/>
                    </a:lnTo>
                    <a:lnTo>
                      <a:pt x="1626565" y="817410"/>
                    </a:lnTo>
                    <a:lnTo>
                      <a:pt x="1626565" y="801433"/>
                    </a:lnTo>
                    <a:lnTo>
                      <a:pt x="1606816" y="801433"/>
                    </a:lnTo>
                    <a:lnTo>
                      <a:pt x="1606816" y="786904"/>
                    </a:lnTo>
                    <a:lnTo>
                      <a:pt x="1603146" y="786904"/>
                    </a:lnTo>
                    <a:lnTo>
                      <a:pt x="1603146" y="770445"/>
                    </a:lnTo>
                    <a:lnTo>
                      <a:pt x="1580978" y="769663"/>
                    </a:lnTo>
                    <a:lnTo>
                      <a:pt x="1532210" y="769750"/>
                    </a:lnTo>
                    <a:lnTo>
                      <a:pt x="1483442" y="770184"/>
                    </a:lnTo>
                    <a:lnTo>
                      <a:pt x="1461274" y="770445"/>
                    </a:lnTo>
                    <a:lnTo>
                      <a:pt x="1461274" y="754951"/>
                    </a:lnTo>
                    <a:lnTo>
                      <a:pt x="1278178" y="754951"/>
                    </a:lnTo>
                    <a:lnTo>
                      <a:pt x="1278178" y="738974"/>
                    </a:lnTo>
                    <a:lnTo>
                      <a:pt x="1248371" y="738974"/>
                    </a:lnTo>
                    <a:lnTo>
                      <a:pt x="1248371" y="723963"/>
                    </a:lnTo>
                    <a:lnTo>
                      <a:pt x="1243914" y="723963"/>
                    </a:lnTo>
                    <a:lnTo>
                      <a:pt x="1243914" y="707974"/>
                    </a:lnTo>
                    <a:lnTo>
                      <a:pt x="1231709" y="707974"/>
                    </a:lnTo>
                    <a:lnTo>
                      <a:pt x="1231709" y="692480"/>
                    </a:lnTo>
                    <a:lnTo>
                      <a:pt x="1196035" y="692480"/>
                    </a:lnTo>
                    <a:lnTo>
                      <a:pt x="1196035" y="676490"/>
                    </a:lnTo>
                    <a:lnTo>
                      <a:pt x="1168323" y="676490"/>
                    </a:lnTo>
                    <a:lnTo>
                      <a:pt x="1168323" y="661974"/>
                    </a:lnTo>
                    <a:lnTo>
                      <a:pt x="1117155" y="661974"/>
                    </a:lnTo>
                    <a:lnTo>
                      <a:pt x="1117155" y="645515"/>
                    </a:lnTo>
                    <a:lnTo>
                      <a:pt x="1052271" y="645515"/>
                    </a:lnTo>
                    <a:lnTo>
                      <a:pt x="1052271" y="630491"/>
                    </a:lnTo>
                    <a:lnTo>
                      <a:pt x="1014348" y="630491"/>
                    </a:lnTo>
                    <a:lnTo>
                      <a:pt x="1014348" y="614514"/>
                    </a:lnTo>
                    <a:lnTo>
                      <a:pt x="1011059" y="614514"/>
                    </a:lnTo>
                    <a:lnTo>
                      <a:pt x="1011059" y="600468"/>
                    </a:lnTo>
                    <a:lnTo>
                      <a:pt x="961770" y="600468"/>
                    </a:lnTo>
                    <a:lnTo>
                      <a:pt x="961770" y="585470"/>
                    </a:lnTo>
                    <a:lnTo>
                      <a:pt x="941412" y="585470"/>
                    </a:lnTo>
                    <a:lnTo>
                      <a:pt x="941412" y="571296"/>
                    </a:lnTo>
                    <a:lnTo>
                      <a:pt x="873048" y="571296"/>
                    </a:lnTo>
                    <a:lnTo>
                      <a:pt x="873048" y="554951"/>
                    </a:lnTo>
                    <a:lnTo>
                      <a:pt x="820572" y="554951"/>
                    </a:lnTo>
                    <a:lnTo>
                      <a:pt x="820572" y="540423"/>
                    </a:lnTo>
                    <a:lnTo>
                      <a:pt x="805916" y="540423"/>
                    </a:lnTo>
                    <a:lnTo>
                      <a:pt x="805916" y="525411"/>
                    </a:lnTo>
                    <a:lnTo>
                      <a:pt x="752868" y="525411"/>
                    </a:lnTo>
                    <a:lnTo>
                      <a:pt x="752868" y="510882"/>
                    </a:lnTo>
                    <a:lnTo>
                      <a:pt x="744880" y="510882"/>
                    </a:lnTo>
                    <a:lnTo>
                      <a:pt x="744880" y="496849"/>
                    </a:lnTo>
                    <a:lnTo>
                      <a:pt x="726109" y="496849"/>
                    </a:lnTo>
                    <a:lnTo>
                      <a:pt x="726109" y="481355"/>
                    </a:lnTo>
                    <a:lnTo>
                      <a:pt x="723290" y="481355"/>
                    </a:lnTo>
                    <a:lnTo>
                      <a:pt x="723290" y="466813"/>
                    </a:lnTo>
                    <a:lnTo>
                      <a:pt x="698868" y="466813"/>
                    </a:lnTo>
                    <a:lnTo>
                      <a:pt x="698868" y="437769"/>
                    </a:lnTo>
                    <a:lnTo>
                      <a:pt x="682904" y="437769"/>
                    </a:lnTo>
                    <a:lnTo>
                      <a:pt x="682904" y="423227"/>
                    </a:lnTo>
                    <a:lnTo>
                      <a:pt x="661784" y="423227"/>
                    </a:lnTo>
                    <a:lnTo>
                      <a:pt x="661784" y="407263"/>
                    </a:lnTo>
                    <a:lnTo>
                      <a:pt x="631736" y="407263"/>
                    </a:lnTo>
                    <a:lnTo>
                      <a:pt x="631736" y="392734"/>
                    </a:lnTo>
                    <a:lnTo>
                      <a:pt x="627608" y="392734"/>
                    </a:lnTo>
                    <a:lnTo>
                      <a:pt x="627608" y="376986"/>
                    </a:lnTo>
                    <a:lnTo>
                      <a:pt x="619531" y="376986"/>
                    </a:lnTo>
                    <a:lnTo>
                      <a:pt x="619531" y="362750"/>
                    </a:lnTo>
                    <a:lnTo>
                      <a:pt x="609206" y="362750"/>
                    </a:lnTo>
                    <a:lnTo>
                      <a:pt x="609206" y="348665"/>
                    </a:lnTo>
                    <a:lnTo>
                      <a:pt x="602170" y="348665"/>
                    </a:lnTo>
                    <a:lnTo>
                      <a:pt x="602170" y="334619"/>
                    </a:lnTo>
                    <a:lnTo>
                      <a:pt x="559904" y="334619"/>
                    </a:lnTo>
                    <a:lnTo>
                      <a:pt x="559904" y="319608"/>
                    </a:lnTo>
                    <a:lnTo>
                      <a:pt x="557568" y="319608"/>
                    </a:lnTo>
                    <a:lnTo>
                      <a:pt x="557568" y="304114"/>
                    </a:lnTo>
                    <a:lnTo>
                      <a:pt x="548639" y="304114"/>
                    </a:lnTo>
                    <a:lnTo>
                      <a:pt x="548639" y="274574"/>
                    </a:lnTo>
                    <a:lnTo>
                      <a:pt x="463207" y="274574"/>
                    </a:lnTo>
                    <a:lnTo>
                      <a:pt x="463207" y="260527"/>
                    </a:lnTo>
                    <a:lnTo>
                      <a:pt x="439966" y="260527"/>
                    </a:lnTo>
                    <a:lnTo>
                      <a:pt x="439966" y="231000"/>
                    </a:lnTo>
                    <a:lnTo>
                      <a:pt x="431749" y="231000"/>
                    </a:lnTo>
                    <a:lnTo>
                      <a:pt x="431749" y="215506"/>
                    </a:lnTo>
                    <a:lnTo>
                      <a:pt x="406869" y="215506"/>
                    </a:lnTo>
                    <a:lnTo>
                      <a:pt x="406869" y="200964"/>
                    </a:lnTo>
                    <a:lnTo>
                      <a:pt x="394652" y="200964"/>
                    </a:lnTo>
                    <a:lnTo>
                      <a:pt x="394652" y="186931"/>
                    </a:lnTo>
                    <a:lnTo>
                      <a:pt x="386689" y="186931"/>
                    </a:lnTo>
                    <a:lnTo>
                      <a:pt x="386689" y="172402"/>
                    </a:lnTo>
                    <a:lnTo>
                      <a:pt x="379641" y="172402"/>
                    </a:lnTo>
                    <a:lnTo>
                      <a:pt x="379641" y="156184"/>
                    </a:lnTo>
                    <a:lnTo>
                      <a:pt x="342074" y="156184"/>
                    </a:lnTo>
                    <a:lnTo>
                      <a:pt x="342074" y="142379"/>
                    </a:lnTo>
                    <a:lnTo>
                      <a:pt x="333159" y="142379"/>
                    </a:lnTo>
                    <a:lnTo>
                      <a:pt x="333159" y="127850"/>
                    </a:lnTo>
                    <a:lnTo>
                      <a:pt x="329882" y="127850"/>
                    </a:lnTo>
                    <a:lnTo>
                      <a:pt x="329882" y="114287"/>
                    </a:lnTo>
                    <a:lnTo>
                      <a:pt x="312978" y="114287"/>
                    </a:lnTo>
                    <a:lnTo>
                      <a:pt x="312978" y="98793"/>
                    </a:lnTo>
                    <a:lnTo>
                      <a:pt x="292328" y="98793"/>
                    </a:lnTo>
                    <a:lnTo>
                      <a:pt x="292328" y="85737"/>
                    </a:lnTo>
                    <a:lnTo>
                      <a:pt x="274662" y="85737"/>
                    </a:lnTo>
                    <a:lnTo>
                      <a:pt x="274662" y="70713"/>
                    </a:lnTo>
                    <a:lnTo>
                      <a:pt x="227063" y="70713"/>
                    </a:lnTo>
                    <a:lnTo>
                      <a:pt x="227063" y="55689"/>
                    </a:lnTo>
                    <a:lnTo>
                      <a:pt x="217208" y="55689"/>
                    </a:lnTo>
                    <a:lnTo>
                      <a:pt x="217208" y="41643"/>
                    </a:lnTo>
                    <a:lnTo>
                      <a:pt x="137871" y="41643"/>
                    </a:lnTo>
                    <a:lnTo>
                      <a:pt x="137871" y="26162"/>
                    </a:lnTo>
                    <a:lnTo>
                      <a:pt x="116979" y="26162"/>
                    </a:lnTo>
                    <a:lnTo>
                      <a:pt x="116979" y="13081"/>
                    </a:lnTo>
                    <a:lnTo>
                      <a:pt x="60985" y="13081"/>
                    </a:lnTo>
                    <a:lnTo>
                      <a:pt x="60985" y="0"/>
                    </a:lnTo>
                    <a:lnTo>
                      <a:pt x="0" y="0"/>
                    </a:lnTo>
                  </a:path>
                </a:pathLst>
              </a:custGeom>
              <a:ln w="12700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53" name="object 57">
                <a:extLst>
                  <a:ext uri="{FF2B5EF4-FFF2-40B4-BE49-F238E27FC236}">
                    <a16:creationId xmlns:a16="http://schemas.microsoft.com/office/drawing/2014/main" id="{23D17D0B-EFDA-42BC-B921-A6BA038C07A7}"/>
                  </a:ext>
                </a:extLst>
              </p:cNvPr>
              <p:cNvSpPr/>
              <p:nvPr/>
            </p:nvSpPr>
            <p:spPr>
              <a:xfrm>
                <a:off x="3310382" y="1907920"/>
                <a:ext cx="237490" cy="35560"/>
              </a:xfrm>
              <a:custGeom>
                <a:avLst/>
                <a:gdLst/>
                <a:ahLst/>
                <a:cxnLst/>
                <a:rect l="l" t="t" r="r" b="b"/>
                <a:pathLst>
                  <a:path w="237489" h="35560">
                    <a:moveTo>
                      <a:pt x="236943" y="7861"/>
                    </a:moveTo>
                    <a:lnTo>
                      <a:pt x="229095" y="0"/>
                    </a:lnTo>
                    <a:lnTo>
                      <a:pt x="228155" y="0"/>
                    </a:lnTo>
                    <a:lnTo>
                      <a:pt x="211251" y="0"/>
                    </a:lnTo>
                    <a:lnTo>
                      <a:pt x="157149" y="0"/>
                    </a:lnTo>
                    <a:lnTo>
                      <a:pt x="156743" y="406"/>
                    </a:lnTo>
                    <a:lnTo>
                      <a:pt x="155359" y="406"/>
                    </a:lnTo>
                    <a:lnTo>
                      <a:pt x="153530" y="2235"/>
                    </a:lnTo>
                    <a:lnTo>
                      <a:pt x="151726" y="406"/>
                    </a:lnTo>
                    <a:lnTo>
                      <a:pt x="150787" y="406"/>
                    </a:lnTo>
                    <a:lnTo>
                      <a:pt x="149212" y="406"/>
                    </a:lnTo>
                    <a:lnTo>
                      <a:pt x="148818" y="0"/>
                    </a:lnTo>
                    <a:lnTo>
                      <a:pt x="54800" y="0"/>
                    </a:lnTo>
                    <a:lnTo>
                      <a:pt x="54394" y="406"/>
                    </a:lnTo>
                    <a:lnTo>
                      <a:pt x="46913" y="406"/>
                    </a:lnTo>
                    <a:lnTo>
                      <a:pt x="41757" y="406"/>
                    </a:lnTo>
                    <a:lnTo>
                      <a:pt x="34683" y="7480"/>
                    </a:lnTo>
                    <a:lnTo>
                      <a:pt x="27228" y="0"/>
                    </a:lnTo>
                    <a:lnTo>
                      <a:pt x="7861" y="0"/>
                    </a:lnTo>
                    <a:lnTo>
                      <a:pt x="0" y="7861"/>
                    </a:lnTo>
                    <a:lnTo>
                      <a:pt x="0" y="27241"/>
                    </a:lnTo>
                    <a:lnTo>
                      <a:pt x="7861" y="35090"/>
                    </a:lnTo>
                    <a:lnTo>
                      <a:pt x="27228" y="35090"/>
                    </a:lnTo>
                    <a:lnTo>
                      <a:pt x="34277" y="28041"/>
                    </a:lnTo>
                    <a:lnTo>
                      <a:pt x="41757" y="35483"/>
                    </a:lnTo>
                    <a:lnTo>
                      <a:pt x="46913" y="35483"/>
                    </a:lnTo>
                    <a:lnTo>
                      <a:pt x="61125" y="35483"/>
                    </a:lnTo>
                    <a:lnTo>
                      <a:pt x="66294" y="35483"/>
                    </a:lnTo>
                    <a:lnTo>
                      <a:pt x="66687" y="35090"/>
                    </a:lnTo>
                    <a:lnTo>
                      <a:pt x="108940" y="35090"/>
                    </a:lnTo>
                    <a:lnTo>
                      <a:pt x="109347" y="35483"/>
                    </a:lnTo>
                    <a:lnTo>
                      <a:pt x="151726" y="35483"/>
                    </a:lnTo>
                    <a:lnTo>
                      <a:pt x="153530" y="33680"/>
                    </a:lnTo>
                    <a:lnTo>
                      <a:pt x="155359" y="35483"/>
                    </a:lnTo>
                    <a:lnTo>
                      <a:pt x="159118" y="35483"/>
                    </a:lnTo>
                    <a:lnTo>
                      <a:pt x="167093" y="35483"/>
                    </a:lnTo>
                    <a:lnTo>
                      <a:pt x="174739" y="35483"/>
                    </a:lnTo>
                    <a:lnTo>
                      <a:pt x="178498" y="35483"/>
                    </a:lnTo>
                    <a:lnTo>
                      <a:pt x="186474" y="35483"/>
                    </a:lnTo>
                    <a:lnTo>
                      <a:pt x="186867" y="35090"/>
                    </a:lnTo>
                    <a:lnTo>
                      <a:pt x="191884" y="35090"/>
                    </a:lnTo>
                    <a:lnTo>
                      <a:pt x="192481" y="35090"/>
                    </a:lnTo>
                    <a:lnTo>
                      <a:pt x="200494" y="35090"/>
                    </a:lnTo>
                    <a:lnTo>
                      <a:pt x="200901" y="35483"/>
                    </a:lnTo>
                    <a:lnTo>
                      <a:pt x="207937" y="35483"/>
                    </a:lnTo>
                    <a:lnTo>
                      <a:pt x="220268" y="35483"/>
                    </a:lnTo>
                    <a:lnTo>
                      <a:pt x="227317" y="35483"/>
                    </a:lnTo>
                    <a:lnTo>
                      <a:pt x="227711" y="35090"/>
                    </a:lnTo>
                    <a:lnTo>
                      <a:pt x="228155" y="35090"/>
                    </a:lnTo>
                    <a:lnTo>
                      <a:pt x="229095" y="35090"/>
                    </a:lnTo>
                    <a:lnTo>
                      <a:pt x="236943" y="27241"/>
                    </a:lnTo>
                    <a:lnTo>
                      <a:pt x="236943" y="17551"/>
                    </a:lnTo>
                    <a:lnTo>
                      <a:pt x="236943" y="7861"/>
                    </a:lnTo>
                    <a:close/>
                  </a:path>
                </a:pathLst>
              </a:custGeom>
              <a:solidFill>
                <a:srgbClr val="C3092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54" name="object 58">
                <a:extLst>
                  <a:ext uri="{FF2B5EF4-FFF2-40B4-BE49-F238E27FC236}">
                    <a16:creationId xmlns:a16="http://schemas.microsoft.com/office/drawing/2014/main" id="{0CE994B9-E9FA-47C9-BE32-F35BD7EBD674}"/>
                  </a:ext>
                </a:extLst>
              </p:cNvPr>
              <p:cNvSpPr/>
              <p:nvPr/>
            </p:nvSpPr>
            <p:spPr>
              <a:xfrm>
                <a:off x="1451724" y="1086053"/>
                <a:ext cx="1807845" cy="857250"/>
              </a:xfrm>
              <a:custGeom>
                <a:avLst/>
                <a:gdLst/>
                <a:ahLst/>
                <a:cxnLst/>
                <a:rect l="l" t="t" r="r" b="b"/>
                <a:pathLst>
                  <a:path w="1807845" h="857250">
                    <a:moveTo>
                      <a:pt x="124726" y="36220"/>
                    </a:moveTo>
                    <a:lnTo>
                      <a:pt x="119557" y="31051"/>
                    </a:lnTo>
                    <a:lnTo>
                      <a:pt x="119557" y="21691"/>
                    </a:lnTo>
                    <a:lnTo>
                      <a:pt x="111925" y="14046"/>
                    </a:lnTo>
                    <a:lnTo>
                      <a:pt x="93078" y="14046"/>
                    </a:lnTo>
                    <a:lnTo>
                      <a:pt x="87706" y="19431"/>
                    </a:lnTo>
                    <a:lnTo>
                      <a:pt x="82334" y="14046"/>
                    </a:lnTo>
                    <a:lnTo>
                      <a:pt x="63500" y="14046"/>
                    </a:lnTo>
                    <a:lnTo>
                      <a:pt x="58356" y="19189"/>
                    </a:lnTo>
                    <a:lnTo>
                      <a:pt x="53225" y="14046"/>
                    </a:lnTo>
                    <a:lnTo>
                      <a:pt x="34391" y="14046"/>
                    </a:lnTo>
                    <a:lnTo>
                      <a:pt x="34112" y="14338"/>
                    </a:lnTo>
                    <a:lnTo>
                      <a:pt x="34112" y="7645"/>
                    </a:lnTo>
                    <a:lnTo>
                      <a:pt x="26479" y="0"/>
                    </a:lnTo>
                    <a:lnTo>
                      <a:pt x="7632" y="0"/>
                    </a:lnTo>
                    <a:lnTo>
                      <a:pt x="0" y="7645"/>
                    </a:lnTo>
                    <a:lnTo>
                      <a:pt x="0" y="26479"/>
                    </a:lnTo>
                    <a:lnTo>
                      <a:pt x="7632" y="34124"/>
                    </a:lnTo>
                    <a:lnTo>
                      <a:pt x="26479" y="34124"/>
                    </a:lnTo>
                    <a:lnTo>
                      <a:pt x="26758" y="33845"/>
                    </a:lnTo>
                    <a:lnTo>
                      <a:pt x="26758" y="40538"/>
                    </a:lnTo>
                    <a:lnTo>
                      <a:pt x="34391" y="48171"/>
                    </a:lnTo>
                    <a:lnTo>
                      <a:pt x="53225" y="48171"/>
                    </a:lnTo>
                    <a:lnTo>
                      <a:pt x="58356" y="43040"/>
                    </a:lnTo>
                    <a:lnTo>
                      <a:pt x="63500" y="48171"/>
                    </a:lnTo>
                    <a:lnTo>
                      <a:pt x="82334" y="48171"/>
                    </a:lnTo>
                    <a:lnTo>
                      <a:pt x="87706" y="42811"/>
                    </a:lnTo>
                    <a:lnTo>
                      <a:pt x="90601" y="45707"/>
                    </a:lnTo>
                    <a:lnTo>
                      <a:pt x="90601" y="55054"/>
                    </a:lnTo>
                    <a:lnTo>
                      <a:pt x="98247" y="62699"/>
                    </a:lnTo>
                    <a:lnTo>
                      <a:pt x="117081" y="62699"/>
                    </a:lnTo>
                    <a:lnTo>
                      <a:pt x="124726" y="55054"/>
                    </a:lnTo>
                    <a:lnTo>
                      <a:pt x="124726" y="45631"/>
                    </a:lnTo>
                    <a:lnTo>
                      <a:pt x="124726" y="36220"/>
                    </a:lnTo>
                    <a:close/>
                  </a:path>
                  <a:path w="1807845" h="857250">
                    <a:moveTo>
                      <a:pt x="313448" y="181978"/>
                    </a:moveTo>
                    <a:lnTo>
                      <a:pt x="305803" y="174332"/>
                    </a:lnTo>
                    <a:lnTo>
                      <a:pt x="286969" y="174332"/>
                    </a:lnTo>
                    <a:lnTo>
                      <a:pt x="279336" y="181978"/>
                    </a:lnTo>
                    <a:lnTo>
                      <a:pt x="279336" y="200812"/>
                    </a:lnTo>
                    <a:lnTo>
                      <a:pt x="286969" y="208457"/>
                    </a:lnTo>
                    <a:lnTo>
                      <a:pt x="305803" y="208457"/>
                    </a:lnTo>
                    <a:lnTo>
                      <a:pt x="313448" y="200812"/>
                    </a:lnTo>
                    <a:lnTo>
                      <a:pt x="313448" y="191389"/>
                    </a:lnTo>
                    <a:lnTo>
                      <a:pt x="313448" y="181978"/>
                    </a:lnTo>
                    <a:close/>
                  </a:path>
                  <a:path w="1807845" h="857250">
                    <a:moveTo>
                      <a:pt x="731266" y="535952"/>
                    </a:moveTo>
                    <a:lnTo>
                      <a:pt x="723633" y="528307"/>
                    </a:lnTo>
                    <a:lnTo>
                      <a:pt x="704786" y="528307"/>
                    </a:lnTo>
                    <a:lnTo>
                      <a:pt x="697141" y="535952"/>
                    </a:lnTo>
                    <a:lnTo>
                      <a:pt x="697141" y="554799"/>
                    </a:lnTo>
                    <a:lnTo>
                      <a:pt x="704786" y="562444"/>
                    </a:lnTo>
                    <a:lnTo>
                      <a:pt x="723633" y="562444"/>
                    </a:lnTo>
                    <a:lnTo>
                      <a:pt x="731266" y="554799"/>
                    </a:lnTo>
                    <a:lnTo>
                      <a:pt x="731266" y="545376"/>
                    </a:lnTo>
                    <a:lnTo>
                      <a:pt x="731266" y="535952"/>
                    </a:lnTo>
                    <a:close/>
                  </a:path>
                  <a:path w="1807845" h="857250">
                    <a:moveTo>
                      <a:pt x="926096" y="611022"/>
                    </a:moveTo>
                    <a:lnTo>
                      <a:pt x="918451" y="603377"/>
                    </a:lnTo>
                    <a:lnTo>
                      <a:pt x="899604" y="603377"/>
                    </a:lnTo>
                    <a:lnTo>
                      <a:pt x="891984" y="611022"/>
                    </a:lnTo>
                    <a:lnTo>
                      <a:pt x="891984" y="629869"/>
                    </a:lnTo>
                    <a:lnTo>
                      <a:pt x="899604" y="637501"/>
                    </a:lnTo>
                    <a:lnTo>
                      <a:pt x="918451" y="637501"/>
                    </a:lnTo>
                    <a:lnTo>
                      <a:pt x="926096" y="629869"/>
                    </a:lnTo>
                    <a:lnTo>
                      <a:pt x="926096" y="620445"/>
                    </a:lnTo>
                    <a:lnTo>
                      <a:pt x="926096" y="611022"/>
                    </a:lnTo>
                    <a:close/>
                  </a:path>
                  <a:path w="1807845" h="857250">
                    <a:moveTo>
                      <a:pt x="991806" y="626503"/>
                    </a:moveTo>
                    <a:lnTo>
                      <a:pt x="984186" y="618871"/>
                    </a:lnTo>
                    <a:lnTo>
                      <a:pt x="965339" y="618871"/>
                    </a:lnTo>
                    <a:lnTo>
                      <a:pt x="957694" y="626503"/>
                    </a:lnTo>
                    <a:lnTo>
                      <a:pt x="957694" y="645350"/>
                    </a:lnTo>
                    <a:lnTo>
                      <a:pt x="965339" y="652995"/>
                    </a:lnTo>
                    <a:lnTo>
                      <a:pt x="984186" y="652995"/>
                    </a:lnTo>
                    <a:lnTo>
                      <a:pt x="991806" y="645350"/>
                    </a:lnTo>
                    <a:lnTo>
                      <a:pt x="991806" y="635927"/>
                    </a:lnTo>
                    <a:lnTo>
                      <a:pt x="991806" y="626503"/>
                    </a:lnTo>
                    <a:close/>
                  </a:path>
                  <a:path w="1807845" h="857250">
                    <a:moveTo>
                      <a:pt x="1579587" y="798436"/>
                    </a:moveTo>
                    <a:lnTo>
                      <a:pt x="1571955" y="790790"/>
                    </a:lnTo>
                    <a:lnTo>
                      <a:pt x="1553095" y="790790"/>
                    </a:lnTo>
                    <a:lnTo>
                      <a:pt x="1545475" y="798436"/>
                    </a:lnTo>
                    <a:lnTo>
                      <a:pt x="1545475" y="817270"/>
                    </a:lnTo>
                    <a:lnTo>
                      <a:pt x="1553095" y="824915"/>
                    </a:lnTo>
                    <a:lnTo>
                      <a:pt x="1571955" y="824915"/>
                    </a:lnTo>
                    <a:lnTo>
                      <a:pt x="1579587" y="817270"/>
                    </a:lnTo>
                    <a:lnTo>
                      <a:pt x="1579587" y="807847"/>
                    </a:lnTo>
                    <a:lnTo>
                      <a:pt x="1579587" y="798436"/>
                    </a:lnTo>
                    <a:close/>
                  </a:path>
                  <a:path w="1807845" h="857250">
                    <a:moveTo>
                      <a:pt x="1807260" y="830389"/>
                    </a:moveTo>
                    <a:lnTo>
                      <a:pt x="1799628" y="822744"/>
                    </a:lnTo>
                    <a:lnTo>
                      <a:pt x="1780781" y="822744"/>
                    </a:lnTo>
                    <a:lnTo>
                      <a:pt x="1773148" y="830389"/>
                    </a:lnTo>
                    <a:lnTo>
                      <a:pt x="1773148" y="849223"/>
                    </a:lnTo>
                    <a:lnTo>
                      <a:pt x="1780781" y="856869"/>
                    </a:lnTo>
                    <a:lnTo>
                      <a:pt x="1799628" y="856869"/>
                    </a:lnTo>
                    <a:lnTo>
                      <a:pt x="1807260" y="849223"/>
                    </a:lnTo>
                    <a:lnTo>
                      <a:pt x="1807260" y="839812"/>
                    </a:lnTo>
                    <a:lnTo>
                      <a:pt x="1807260" y="830389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43" name="object 206">
              <a:extLst>
                <a:ext uri="{FF2B5EF4-FFF2-40B4-BE49-F238E27FC236}">
                  <a16:creationId xmlns:a16="http://schemas.microsoft.com/office/drawing/2014/main" id="{FECD7C8B-234C-425F-9C90-15B69A5F22DD}"/>
                </a:ext>
              </a:extLst>
            </p:cNvPr>
            <p:cNvSpPr/>
            <p:nvPr/>
          </p:nvSpPr>
          <p:spPr>
            <a:xfrm>
              <a:off x="1310716" y="1044054"/>
              <a:ext cx="2284095" cy="1462405"/>
            </a:xfrm>
            <a:custGeom>
              <a:avLst/>
              <a:gdLst/>
              <a:ahLst/>
              <a:cxnLst/>
              <a:rect l="l" t="t" r="r" b="b"/>
              <a:pathLst>
                <a:path w="2284095" h="1462405">
                  <a:moveTo>
                    <a:pt x="2284018" y="1461871"/>
                  </a:moveTo>
                  <a:lnTo>
                    <a:pt x="0" y="1461871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" name="object 220">
              <a:extLst>
                <a:ext uri="{FF2B5EF4-FFF2-40B4-BE49-F238E27FC236}">
                  <a16:creationId xmlns:a16="http://schemas.microsoft.com/office/drawing/2014/main" id="{ACA0E235-22C0-42CD-BE4B-1B6DF37D56D8}"/>
                </a:ext>
              </a:extLst>
            </p:cNvPr>
            <p:cNvSpPr txBox="1"/>
            <p:nvPr/>
          </p:nvSpPr>
          <p:spPr>
            <a:xfrm>
              <a:off x="1050178" y="1024055"/>
              <a:ext cx="209212" cy="1572473"/>
            </a:xfrm>
            <a:prstGeom prst="rect">
              <a:avLst/>
            </a:prstGeom>
          </p:spPr>
          <p:txBody>
            <a:bodyPr vert="horz" wrap="square" lIns="0" tIns="39370" rIns="0" bIns="0" rtlCol="0">
              <a:spAutoFit/>
            </a:bodyPr>
            <a:lstStyle/>
            <a:p>
              <a:pPr marR="5080" algn="r">
                <a:lnSpc>
                  <a:spcPct val="150000"/>
                </a:lnSpc>
                <a:spcBef>
                  <a:spcPts val="310"/>
                </a:spcBef>
              </a:pPr>
              <a:r>
                <a:rPr sz="700" spc="-5" dirty="0">
                  <a:latin typeface="Helvetica"/>
                  <a:cs typeface="Helvetica"/>
                </a:rPr>
                <a:t>100</a:t>
              </a:r>
              <a:endParaRPr sz="700" dirty="0">
                <a:latin typeface="Helvetica"/>
                <a:cs typeface="Helvetica"/>
              </a:endParaRPr>
            </a:p>
            <a:p>
              <a:pPr marR="5080" algn="r">
                <a:lnSpc>
                  <a:spcPct val="150000"/>
                </a:lnSpc>
                <a:spcBef>
                  <a:spcPts val="210"/>
                </a:spcBef>
              </a:pPr>
              <a:r>
                <a:rPr sz="700" spc="-5" dirty="0">
                  <a:latin typeface="Helvetica"/>
                  <a:cs typeface="Helvetica"/>
                </a:rPr>
                <a:t>90</a:t>
              </a:r>
              <a:endParaRPr lang="en-US" sz="700" spc="-5" dirty="0">
                <a:latin typeface="Helvetica"/>
                <a:cs typeface="Helvetica"/>
              </a:endParaRPr>
            </a:p>
            <a:p>
              <a:pPr marR="5080" algn="r">
                <a:lnSpc>
                  <a:spcPct val="150000"/>
                </a:lnSpc>
                <a:spcBef>
                  <a:spcPts val="215"/>
                </a:spcBef>
              </a:pPr>
              <a:r>
                <a:rPr sz="700" spc="-5" dirty="0">
                  <a:latin typeface="Helvetica"/>
                  <a:cs typeface="Helvetica"/>
                </a:rPr>
                <a:t>80</a:t>
              </a:r>
              <a:endParaRPr sz="700" dirty="0">
                <a:latin typeface="Helvetica"/>
                <a:cs typeface="Helvetica"/>
              </a:endParaRPr>
            </a:p>
            <a:p>
              <a:pPr marR="5080" algn="r">
                <a:lnSpc>
                  <a:spcPct val="150000"/>
                </a:lnSpc>
                <a:spcBef>
                  <a:spcPts val="210"/>
                </a:spcBef>
              </a:pPr>
              <a:r>
                <a:rPr sz="700" spc="-5" dirty="0">
                  <a:latin typeface="Helvetica"/>
                  <a:cs typeface="Helvetica"/>
                </a:rPr>
                <a:t>70</a:t>
              </a:r>
              <a:endParaRPr sz="700" dirty="0">
                <a:latin typeface="Helvetica"/>
                <a:cs typeface="Helvetica"/>
              </a:endParaRPr>
            </a:p>
            <a:p>
              <a:pPr marR="5080" algn="r">
                <a:lnSpc>
                  <a:spcPct val="150000"/>
                </a:lnSpc>
                <a:spcBef>
                  <a:spcPts val="210"/>
                </a:spcBef>
              </a:pPr>
              <a:r>
                <a:rPr sz="700" spc="-5" dirty="0">
                  <a:latin typeface="Helvetica"/>
                  <a:cs typeface="Helvetica"/>
                </a:rPr>
                <a:t>60</a:t>
              </a:r>
              <a:endParaRPr sz="700" dirty="0">
                <a:latin typeface="Helvetica"/>
                <a:cs typeface="Helvetica"/>
              </a:endParaRPr>
            </a:p>
            <a:p>
              <a:pPr marR="5080" algn="r">
                <a:lnSpc>
                  <a:spcPct val="150000"/>
                </a:lnSpc>
                <a:spcBef>
                  <a:spcPts val="215"/>
                </a:spcBef>
              </a:pPr>
              <a:r>
                <a:rPr sz="700" spc="-5" dirty="0">
                  <a:latin typeface="Helvetica"/>
                  <a:cs typeface="Helvetica"/>
                </a:rPr>
                <a:t>50</a:t>
              </a:r>
              <a:endParaRPr sz="700" dirty="0">
                <a:latin typeface="Helvetica"/>
                <a:cs typeface="Helvetica"/>
              </a:endParaRPr>
            </a:p>
            <a:p>
              <a:pPr marR="5080" algn="r">
                <a:lnSpc>
                  <a:spcPct val="150000"/>
                </a:lnSpc>
                <a:spcBef>
                  <a:spcPts val="210"/>
                </a:spcBef>
              </a:pPr>
              <a:r>
                <a:rPr sz="700" spc="-5" dirty="0">
                  <a:latin typeface="Helvetica"/>
                  <a:cs typeface="Helvetica"/>
                </a:rPr>
                <a:t>40</a:t>
              </a:r>
              <a:endParaRPr sz="700" dirty="0">
                <a:latin typeface="Helvetica"/>
                <a:cs typeface="Helvetica"/>
              </a:endParaRPr>
            </a:p>
            <a:p>
              <a:pPr marR="5080" algn="r">
                <a:lnSpc>
                  <a:spcPct val="150000"/>
                </a:lnSpc>
                <a:spcBef>
                  <a:spcPts val="210"/>
                </a:spcBef>
              </a:pPr>
              <a:r>
                <a:rPr sz="700" spc="-5" dirty="0">
                  <a:latin typeface="Helvetica"/>
                  <a:cs typeface="Helvetica"/>
                </a:rPr>
                <a:t>30</a:t>
              </a:r>
              <a:endParaRPr sz="700" dirty="0">
                <a:latin typeface="Helvetica"/>
                <a:cs typeface="Helvetica"/>
              </a:endParaRPr>
            </a:p>
            <a:p>
              <a:pPr marR="5080" algn="r">
                <a:lnSpc>
                  <a:spcPct val="150000"/>
                </a:lnSpc>
                <a:spcBef>
                  <a:spcPts val="210"/>
                </a:spcBef>
              </a:pPr>
              <a:r>
                <a:rPr sz="700" spc="-5" dirty="0">
                  <a:latin typeface="Helvetica"/>
                  <a:cs typeface="Helvetica"/>
                </a:rPr>
                <a:t>20</a:t>
              </a:r>
              <a:endParaRPr sz="700" dirty="0">
                <a:latin typeface="Helvetica"/>
                <a:cs typeface="Helvetica"/>
              </a:endParaRPr>
            </a:p>
            <a:p>
              <a:pPr marR="5080" algn="r">
                <a:lnSpc>
                  <a:spcPct val="150000"/>
                </a:lnSpc>
                <a:spcBef>
                  <a:spcPts val="215"/>
                </a:spcBef>
              </a:pPr>
              <a:r>
                <a:rPr sz="700" spc="-5" dirty="0">
                  <a:latin typeface="Helvetica"/>
                  <a:cs typeface="Helvetica"/>
                </a:rPr>
                <a:t>10</a:t>
              </a:r>
              <a:endParaRPr sz="700" dirty="0">
                <a:latin typeface="Helvetica"/>
                <a:cs typeface="Helvetica"/>
              </a:endParaRPr>
            </a:p>
            <a:p>
              <a:pPr marR="5080" algn="r">
                <a:lnSpc>
                  <a:spcPct val="150000"/>
                </a:lnSpc>
                <a:spcBef>
                  <a:spcPts val="210"/>
                </a:spcBef>
              </a:pPr>
              <a:r>
                <a:rPr sz="700" spc="-5" dirty="0">
                  <a:latin typeface="Helvetica"/>
                  <a:cs typeface="Helvetica"/>
                </a:rPr>
                <a:t>0</a:t>
              </a:r>
              <a:endParaRPr sz="700" dirty="0">
                <a:latin typeface="Helvetica"/>
                <a:cs typeface="Helvetica"/>
              </a:endParaRPr>
            </a:p>
          </p:txBody>
        </p:sp>
        <p:sp>
          <p:nvSpPr>
            <p:cNvPr id="148" name="object 221">
              <a:extLst>
                <a:ext uri="{FF2B5EF4-FFF2-40B4-BE49-F238E27FC236}">
                  <a16:creationId xmlns:a16="http://schemas.microsoft.com/office/drawing/2014/main" id="{344E895A-75C1-4C52-8817-0C4751F447F1}"/>
                </a:ext>
              </a:extLst>
            </p:cNvPr>
            <p:cNvSpPr txBox="1"/>
            <p:nvPr/>
          </p:nvSpPr>
          <p:spPr>
            <a:xfrm>
              <a:off x="1309577" y="2552271"/>
              <a:ext cx="78740" cy="1397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750" spc="-5" dirty="0">
                  <a:latin typeface="Helvetica"/>
                  <a:cs typeface="Helvetica"/>
                </a:rPr>
                <a:t>0</a:t>
              </a:r>
              <a:endParaRPr sz="750">
                <a:latin typeface="Helvetica"/>
                <a:cs typeface="Helvetica"/>
              </a:endParaRPr>
            </a:p>
          </p:txBody>
        </p:sp>
        <p:sp>
          <p:nvSpPr>
            <p:cNvPr id="149" name="object 222">
              <a:extLst>
                <a:ext uri="{FF2B5EF4-FFF2-40B4-BE49-F238E27FC236}">
                  <a16:creationId xmlns:a16="http://schemas.microsoft.com/office/drawing/2014/main" id="{0C28DCA2-DA4D-4CEC-AC41-917AE57FAD56}"/>
                </a:ext>
              </a:extLst>
            </p:cNvPr>
            <p:cNvSpPr txBox="1"/>
            <p:nvPr/>
          </p:nvSpPr>
          <p:spPr>
            <a:xfrm>
              <a:off x="1084239" y="1110990"/>
              <a:ext cx="80739" cy="1260475"/>
            </a:xfrm>
            <a:prstGeom prst="rect">
              <a:avLst/>
            </a:prstGeom>
          </p:spPr>
          <p:txBody>
            <a:bodyPr vert="vert270" wrap="square" lIns="0" tIns="1143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90"/>
                </a:spcBef>
              </a:pPr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</a:rPr>
                <a:t>存活患者百分百</a:t>
              </a:r>
              <a:endParaRPr sz="900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endParaRPr>
            </a:p>
          </p:txBody>
        </p:sp>
        <p:sp>
          <p:nvSpPr>
            <p:cNvPr id="150" name="object 223">
              <a:extLst>
                <a:ext uri="{FF2B5EF4-FFF2-40B4-BE49-F238E27FC236}">
                  <a16:creationId xmlns:a16="http://schemas.microsoft.com/office/drawing/2014/main" id="{C5FDAE4A-74BD-499F-915D-8222532A2DCE}"/>
                </a:ext>
              </a:extLst>
            </p:cNvPr>
            <p:cNvSpPr txBox="1"/>
            <p:nvPr/>
          </p:nvSpPr>
          <p:spPr>
            <a:xfrm>
              <a:off x="1581983" y="2532181"/>
              <a:ext cx="2012314" cy="239093"/>
            </a:xfrm>
            <a:prstGeom prst="rect">
              <a:avLst/>
            </a:prstGeom>
          </p:spPr>
          <p:txBody>
            <a:bodyPr vert="horz" wrap="square" lIns="0" tIns="32384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254"/>
                </a:spcBef>
                <a:tabLst>
                  <a:tab pos="258445" algn="l"/>
                  <a:tab pos="530860" algn="l"/>
                  <a:tab pos="803275" algn="l"/>
                  <a:tab pos="1075690" algn="l"/>
                  <a:tab pos="1348105" algn="l"/>
                  <a:tab pos="1620520" algn="l"/>
                  <a:tab pos="1892935" algn="l"/>
                </a:tabLst>
              </a:pPr>
              <a:r>
                <a:rPr lang="en-US" sz="750" spc="-5" dirty="0">
                  <a:latin typeface="Helvetica"/>
                  <a:cs typeface="Helvetica"/>
                </a:rPr>
                <a:t> </a:t>
              </a:r>
              <a:r>
                <a:rPr sz="750" spc="-5" dirty="0">
                  <a:latin typeface="Helvetica"/>
                  <a:cs typeface="Helvetica"/>
                </a:rPr>
                <a:t>9	</a:t>
              </a:r>
              <a:r>
                <a:rPr lang="en-US" sz="750" spc="-5" dirty="0">
                  <a:latin typeface="Helvetica"/>
                  <a:cs typeface="Helvetica"/>
                </a:rPr>
                <a:t>          </a:t>
              </a:r>
              <a:r>
                <a:rPr sz="750" spc="-5" dirty="0">
                  <a:latin typeface="Helvetica"/>
                  <a:cs typeface="Helvetica"/>
                </a:rPr>
                <a:t>18</a:t>
              </a:r>
              <a:r>
                <a:rPr lang="en-US" sz="750" spc="-5" dirty="0">
                  <a:latin typeface="Helvetica"/>
                  <a:cs typeface="Helvetica"/>
                </a:rPr>
                <a:t>    </a:t>
              </a:r>
              <a:r>
                <a:rPr sz="750" spc="-5" dirty="0">
                  <a:latin typeface="Helvetica"/>
                  <a:cs typeface="Helvetica"/>
                </a:rPr>
                <a:t>	</a:t>
              </a:r>
              <a:r>
                <a:rPr lang="en-US" sz="750" spc="-5" dirty="0">
                  <a:latin typeface="Helvetica"/>
                  <a:cs typeface="Helvetica"/>
                </a:rPr>
                <a:t>          </a:t>
              </a:r>
              <a:r>
                <a:rPr sz="750" spc="-5" dirty="0">
                  <a:latin typeface="Helvetica"/>
                  <a:cs typeface="Helvetica"/>
                </a:rPr>
                <a:t>27	</a:t>
              </a:r>
              <a:r>
                <a:rPr lang="en-US" sz="750" spc="-5" dirty="0">
                  <a:latin typeface="Helvetica"/>
                  <a:cs typeface="Helvetica"/>
                </a:rPr>
                <a:t>       </a:t>
              </a:r>
              <a:r>
                <a:rPr sz="750" spc="-5" dirty="0">
                  <a:latin typeface="Helvetica"/>
                  <a:cs typeface="Helvetica"/>
                </a:rPr>
                <a:t>36	</a:t>
              </a:r>
              <a:r>
                <a:rPr lang="en-US" sz="750" spc="-5" dirty="0">
                  <a:latin typeface="Helvetica"/>
                  <a:cs typeface="Helvetica"/>
                </a:rPr>
                <a:t>      </a:t>
              </a:r>
              <a:r>
                <a:rPr sz="750" spc="-5" dirty="0">
                  <a:latin typeface="Helvetica"/>
                  <a:cs typeface="Helvetica"/>
                </a:rPr>
                <a:t>45</a:t>
              </a:r>
              <a:r>
                <a:rPr lang="en-US" sz="750" spc="-5" dirty="0">
                  <a:latin typeface="Helvetica"/>
                  <a:cs typeface="Helvetica"/>
                </a:rPr>
                <a:t>                </a:t>
              </a:r>
              <a:r>
                <a:rPr sz="750" spc="-5" dirty="0">
                  <a:latin typeface="Helvetica"/>
                  <a:cs typeface="Helvetica"/>
                </a:rPr>
                <a:t>54	</a:t>
              </a:r>
              <a:r>
                <a:rPr lang="en-US" sz="750" spc="-5" dirty="0">
                  <a:latin typeface="Helvetica"/>
                  <a:cs typeface="Helvetica"/>
                </a:rPr>
                <a:t>             </a:t>
              </a:r>
              <a:r>
                <a:rPr sz="750" spc="-5" dirty="0">
                  <a:latin typeface="Helvetica"/>
                  <a:cs typeface="Helvetica"/>
                </a:rPr>
                <a:t>63</a:t>
              </a:r>
              <a:r>
                <a:rPr lang="en-US" sz="750" spc="-5" dirty="0">
                  <a:latin typeface="Helvetica"/>
                  <a:cs typeface="Helvetica"/>
                </a:rPr>
                <a:t>                </a:t>
              </a:r>
              <a:r>
                <a:rPr sz="750" spc="-5" dirty="0">
                  <a:latin typeface="Helvetica"/>
                  <a:cs typeface="Helvetica"/>
                </a:rPr>
                <a:t>72</a:t>
              </a:r>
              <a:endParaRPr sz="750" dirty="0">
                <a:latin typeface="Helvetica"/>
                <a:cs typeface="Helvetica"/>
              </a:endParaRPr>
            </a:p>
            <a:p>
              <a:pPr marL="535305">
                <a:lnSpc>
                  <a:spcPct val="100000"/>
                </a:lnSpc>
                <a:spcBef>
                  <a:spcPts val="190"/>
                </a:spcBef>
              </a:pPr>
              <a:r>
                <a:rPr lang="zh-CN" altLang="en-US" sz="900" spc="-65" dirty="0">
                  <a:latin typeface="Arial"/>
                  <a:cs typeface="Arial"/>
                </a:rPr>
                <a:t>       时间</a:t>
              </a:r>
              <a:r>
                <a:rPr sz="900" spc="-25" dirty="0">
                  <a:latin typeface="Arial"/>
                  <a:cs typeface="Arial"/>
                </a:rPr>
                <a:t> </a:t>
              </a:r>
              <a:r>
                <a:rPr sz="900" spc="-35" dirty="0">
                  <a:latin typeface="Arial"/>
                  <a:cs typeface="Arial"/>
                </a:rPr>
                <a:t>(</a:t>
              </a:r>
              <a:r>
                <a:rPr lang="zh-CN" altLang="en-US" sz="900" spc="-35" dirty="0">
                  <a:latin typeface="Arial"/>
                  <a:cs typeface="Arial"/>
                </a:rPr>
                <a:t>月</a:t>
              </a:r>
              <a:r>
                <a:rPr sz="900" spc="-35" dirty="0">
                  <a:latin typeface="Arial"/>
                  <a:cs typeface="Arial"/>
                </a:rPr>
                <a:t>)</a:t>
              </a:r>
              <a:endParaRPr sz="900" dirty="0">
                <a:latin typeface="Arial"/>
                <a:cs typeface="Arial"/>
              </a:endParaRPr>
            </a:p>
          </p:txBody>
        </p:sp>
      </p:grpSp>
      <p:graphicFrame>
        <p:nvGraphicFramePr>
          <p:cNvPr id="158" name="表格 6">
            <a:extLst>
              <a:ext uri="{FF2B5EF4-FFF2-40B4-BE49-F238E27FC236}">
                <a16:creationId xmlns:a16="http://schemas.microsoft.com/office/drawing/2014/main" id="{4E90134F-082E-452B-A473-F552192831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4226168"/>
              </p:ext>
            </p:extLst>
          </p:nvPr>
        </p:nvGraphicFramePr>
        <p:xfrm>
          <a:off x="5512178" y="2918493"/>
          <a:ext cx="1657338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8669">
                  <a:extLst>
                    <a:ext uri="{9D8B030D-6E8A-4147-A177-3AD203B41FA5}">
                      <a16:colId xmlns:a16="http://schemas.microsoft.com/office/drawing/2014/main" val="1375084192"/>
                    </a:ext>
                  </a:extLst>
                </a:gridCol>
                <a:gridCol w="828669">
                  <a:extLst>
                    <a:ext uri="{9D8B030D-6E8A-4147-A177-3AD203B41FA5}">
                      <a16:colId xmlns:a16="http://schemas.microsoft.com/office/drawing/2014/main" val="1715973006"/>
                    </a:ext>
                  </a:extLst>
                </a:gridCol>
              </a:tblGrid>
              <a:tr h="176745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全人群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2612234"/>
                  </a:ext>
                </a:extLst>
              </a:tr>
              <a:tr h="176745"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ORR</a:t>
                      </a:r>
                      <a:endParaRPr kumimoji="0" lang="zh-CN" altLang="en-US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1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75%</a:t>
                      </a:r>
                      <a:endParaRPr kumimoji="0" lang="zh-CN" altLang="en-US" sz="1400" b="1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755417"/>
                  </a:ext>
                </a:extLst>
              </a:tr>
              <a:tr h="159071"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CR</a:t>
                      </a:r>
                      <a:endParaRPr kumimoji="0" lang="zh-CN" altLang="en-US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200" b="1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34%</a:t>
                      </a:r>
                      <a:endParaRPr kumimoji="0" lang="zh-CN" altLang="en-US" sz="1200" b="1" i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50376"/>
                  </a:ext>
                </a:extLst>
              </a:tr>
              <a:tr h="159071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中位</a:t>
                      </a:r>
                      <a:r>
                        <a:rPr kumimoji="0" lang="en-US" altLang="zh-CN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PFS</a:t>
                      </a:r>
                      <a:endParaRPr kumimoji="0" lang="zh-CN" altLang="en-US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200" b="1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9.3</a:t>
                      </a:r>
                      <a:r>
                        <a:rPr kumimoji="0" lang="zh-CN" altLang="en-US" sz="1200" b="1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个月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5706006"/>
                  </a:ext>
                </a:extLst>
              </a:tr>
            </a:tbl>
          </a:graphicData>
        </a:graphic>
      </p:graphicFrame>
      <p:graphicFrame>
        <p:nvGraphicFramePr>
          <p:cNvPr id="159" name="表格 6">
            <a:extLst>
              <a:ext uri="{FF2B5EF4-FFF2-40B4-BE49-F238E27FC236}">
                <a16:creationId xmlns:a16="http://schemas.microsoft.com/office/drawing/2014/main" id="{F7B382AC-6E21-4C3B-A7B4-26B541C22A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634327"/>
              </p:ext>
            </p:extLst>
          </p:nvPr>
        </p:nvGraphicFramePr>
        <p:xfrm>
          <a:off x="5489862" y="1854565"/>
          <a:ext cx="1679654" cy="88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4733">
                  <a:extLst>
                    <a:ext uri="{9D8B030D-6E8A-4147-A177-3AD203B41FA5}">
                      <a16:colId xmlns:a16="http://schemas.microsoft.com/office/drawing/2014/main" val="1375084192"/>
                    </a:ext>
                  </a:extLst>
                </a:gridCol>
                <a:gridCol w="704921">
                  <a:extLst>
                    <a:ext uri="{9D8B030D-6E8A-4147-A177-3AD203B41FA5}">
                      <a16:colId xmlns:a16="http://schemas.microsoft.com/office/drawing/2014/main" val="1715973006"/>
                    </a:ext>
                  </a:extLst>
                </a:gridCol>
              </a:tblGrid>
              <a:tr h="21500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完全缓解患者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2612234"/>
                  </a:ext>
                </a:extLst>
              </a:tr>
              <a:tr h="243601"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kumimoji="0" lang="zh-CN" alt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kumimoji="0" lang="en-US" altLang="zh-CN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PFS</a:t>
                      </a:r>
                      <a:r>
                        <a:rPr kumimoji="0" lang="zh-CN" alt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率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zh-CN" sz="1400" b="1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52%</a:t>
                      </a:r>
                      <a:endParaRPr kumimoji="0" lang="zh-CN" altLang="en-US" sz="1400" b="1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755417"/>
                  </a:ext>
                </a:extLst>
              </a:tr>
              <a:tr h="243601"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kumimoji="0" lang="zh-CN" alt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kumimoji="0" lang="en-US" altLang="zh-CN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OS</a:t>
                      </a:r>
                      <a:r>
                        <a:rPr kumimoji="0" lang="zh-CN" alt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率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altLang="zh-CN" sz="1400" b="1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64%</a:t>
                      </a:r>
                      <a:endParaRPr kumimoji="0" lang="zh-CN" altLang="en-US" sz="1400" b="1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50376"/>
                  </a:ext>
                </a:extLst>
              </a:tr>
            </a:tbl>
          </a:graphicData>
        </a:graphic>
      </p:graphicFrame>
      <p:sp>
        <p:nvSpPr>
          <p:cNvPr id="63" name="Rectangle 7">
            <a:extLst>
              <a:ext uri="{FF2B5EF4-FFF2-40B4-BE49-F238E27FC236}">
                <a16:creationId xmlns:a16="http://schemas.microsoft.com/office/drawing/2014/main" id="{DE86A82A-1AFD-4B8F-B3BB-C91CE8B1828A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有效性</a:t>
            </a:r>
          </a:p>
        </p:txBody>
      </p:sp>
      <p:sp>
        <p:nvSpPr>
          <p:cNvPr id="66" name="圆角矩形 27">
            <a:extLst>
              <a:ext uri="{FF2B5EF4-FFF2-40B4-BE49-F238E27FC236}">
                <a16:creationId xmlns:a16="http://schemas.microsoft.com/office/drawing/2014/main" id="{C6A75FC3-BB59-4EF6-B78F-1DD4F660C9F5}"/>
              </a:ext>
            </a:extLst>
          </p:cNvPr>
          <p:cNvSpPr/>
          <p:nvPr/>
        </p:nvSpPr>
        <p:spPr>
          <a:xfrm>
            <a:off x="1136499" y="3454833"/>
            <a:ext cx="1722676" cy="191357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8" lvl="0" algn="ctr"/>
            <a:r>
              <a:rPr lang="en-US" altLang="zh-CN" sz="1200" b="1" kern="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OS: </a:t>
            </a:r>
            <a:r>
              <a:rPr lang="zh-CN" altLang="en-US" sz="1200" b="1" kern="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全人群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0D12683-3C92-44E1-ADB3-02A05959E717}"/>
              </a:ext>
            </a:extLst>
          </p:cNvPr>
          <p:cNvSpPr txBox="1"/>
          <p:nvPr/>
        </p:nvSpPr>
        <p:spPr>
          <a:xfrm>
            <a:off x="489606" y="6444343"/>
            <a:ext cx="42285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*</a:t>
            </a:r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从诊断到疾病进展或死亡</a:t>
            </a:r>
          </a:p>
        </p:txBody>
      </p:sp>
    </p:spTree>
    <p:extLst>
      <p:ext uri="{BB962C8B-B14F-4D97-AF65-F5344CB8AC3E}">
        <p14:creationId xmlns:p14="http://schemas.microsoft.com/office/powerpoint/2010/main" val="1707961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60C3CB-D7D9-4291-8751-863D44CFC7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6277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98" imgH="499" progId="TCLayout.ActiveDocument.1">
                  <p:embed/>
                </p:oleObj>
              </mc:Choice>
              <mc:Fallback>
                <p:oleObj name="think-cell 幻灯片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60C3CB-D7D9-4291-8751-863D44CFC7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D3F09CED-D31E-64CD-09CE-B559F0C185B2}"/>
              </a:ext>
            </a:extLst>
          </p:cNvPr>
          <p:cNvSpPr/>
          <p:nvPr/>
        </p:nvSpPr>
        <p:spPr>
          <a:xfrm>
            <a:off x="550796" y="1132343"/>
            <a:ext cx="11090638" cy="166386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zh-CN" altLang="en-US" sz="1200" kern="10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E98F0A9F-F55F-4BD7-A659-1425D1CD8E18}"/>
              </a:ext>
            </a:extLst>
          </p:cNvPr>
          <p:cNvSpPr/>
          <p:nvPr/>
        </p:nvSpPr>
        <p:spPr>
          <a:xfrm rot="8013264">
            <a:off x="9271686" y="2258672"/>
            <a:ext cx="106744" cy="489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43BF3504-E547-42A5-82B0-F082DC3D3462}"/>
              </a:ext>
            </a:extLst>
          </p:cNvPr>
          <p:cNvSpPr/>
          <p:nvPr/>
        </p:nvSpPr>
        <p:spPr>
          <a:xfrm rot="2232846">
            <a:off x="8593275" y="2242298"/>
            <a:ext cx="106744" cy="489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295DBDC1-9B8B-4445-87F5-00DE74EA1197}"/>
              </a:ext>
            </a:extLst>
          </p:cNvPr>
          <p:cNvSpPr/>
          <p:nvPr/>
        </p:nvSpPr>
        <p:spPr>
          <a:xfrm>
            <a:off x="8781865" y="2071214"/>
            <a:ext cx="106744" cy="489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90C196D-74F5-9F03-50A7-32CC97083FE1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2" name="文本框 111">
            <a:extLst>
              <a:ext uri="{FF2B5EF4-FFF2-40B4-BE49-F238E27FC236}">
                <a16:creationId xmlns:a16="http://schemas.microsoft.com/office/drawing/2014/main" id="{D1EC3597-9D66-E740-7559-6D44FA8E7510}"/>
              </a:ext>
            </a:extLst>
          </p:cNvPr>
          <p:cNvSpPr txBox="1"/>
          <p:nvPr/>
        </p:nvSpPr>
        <p:spPr>
          <a:xfrm>
            <a:off x="527051" y="6433923"/>
            <a:ext cx="621302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专利：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.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治疗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L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方法和药物组成 （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O2002/043661)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； 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.MMAE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MAE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类药物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(WO2002/088172)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； 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3.vc-MMAE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</a:t>
            </a:r>
            <a:r>
              <a:rPr lang="en-US" altLang="zh-CN" sz="6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vc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MMAE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类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DC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6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vc</a:t>
            </a:r>
            <a:r>
              <a:rPr lang="zh-CN" altLang="en-US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指链接体）（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O2004/010957)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DBB7A11F-F0CB-4AB3-9241-D2E7845305C1}"/>
              </a:ext>
            </a:extLst>
          </p:cNvPr>
          <p:cNvSpPr txBox="1"/>
          <p:nvPr/>
        </p:nvSpPr>
        <p:spPr>
          <a:xfrm>
            <a:off x="550795" y="6581002"/>
            <a:ext cx="8270093" cy="276999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[</a:t>
            </a:r>
            <a:r>
              <a:rPr lang="en-US" altLang="zh-CN" sz="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] Francisco JA, et al. Blood 2003;102:1458–65. [2] Fromm JR, et al. Presented at the 52nd Annual Meeting of the American Society of Hematology, November 2010. [3]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Okeley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 NM, et al. Cancer Res (2015) 75 (7): 1376–1387. [4] 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国家药监局药品审评中心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技术审评报告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》[5] P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Senter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, E Sievers. Nat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Biotechno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 30, 631–637 (2012). 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467EC9E-0170-42C2-8440-318C69960ADF}"/>
              </a:ext>
            </a:extLst>
          </p:cNvPr>
          <p:cNvSpPr/>
          <p:nvPr/>
        </p:nvSpPr>
        <p:spPr>
          <a:xfrm>
            <a:off x="550862" y="1118560"/>
            <a:ext cx="7861617" cy="441673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zh-CN" altLang="zh-CN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维布妥西</a:t>
            </a:r>
            <a:r>
              <a:rPr lang="zh-CN" altLang="en-US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单抗靶向</a:t>
            </a:r>
            <a:r>
              <a:rPr lang="zh-CN" altLang="zh-CN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到表达</a:t>
            </a:r>
            <a:r>
              <a:rPr lang="en-US" altLang="zh-CN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D30</a:t>
            </a:r>
            <a:r>
              <a:rPr lang="zh-CN" altLang="zh-CN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的肿瘤细胞上，内化后通过蛋白酶切释放</a:t>
            </a:r>
            <a:r>
              <a:rPr lang="en-US" altLang="zh-CN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MMAE</a:t>
            </a:r>
            <a:r>
              <a:rPr lang="zh-CN" altLang="en-US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杀死癌细胞</a:t>
            </a:r>
            <a:endParaRPr lang="en-US" altLang="zh-CN" sz="14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109" name="组合 108">
            <a:extLst>
              <a:ext uri="{FF2B5EF4-FFF2-40B4-BE49-F238E27FC236}">
                <a16:creationId xmlns:a16="http://schemas.microsoft.com/office/drawing/2014/main" id="{DC5AEB08-DD89-CB47-CA90-251B78D184F7}"/>
              </a:ext>
            </a:extLst>
          </p:cNvPr>
          <p:cNvGrpSpPr/>
          <p:nvPr/>
        </p:nvGrpSpPr>
        <p:grpSpPr>
          <a:xfrm>
            <a:off x="542028" y="2832336"/>
            <a:ext cx="11090273" cy="3504313"/>
            <a:chOff x="550864" y="2941771"/>
            <a:chExt cx="11090273" cy="3504313"/>
          </a:xfrm>
        </p:grpSpPr>
        <p:sp>
          <p:nvSpPr>
            <p:cNvPr id="28" name="矩形: 圆角 27">
              <a:extLst>
                <a:ext uri="{FF2B5EF4-FFF2-40B4-BE49-F238E27FC236}">
                  <a16:creationId xmlns:a16="http://schemas.microsoft.com/office/drawing/2014/main" id="{0D432C2D-F552-AEF3-C91A-1FEB08F13BCC}"/>
                </a:ext>
              </a:extLst>
            </p:cNvPr>
            <p:cNvSpPr/>
            <p:nvPr/>
          </p:nvSpPr>
          <p:spPr>
            <a:xfrm>
              <a:off x="550864" y="2941771"/>
              <a:ext cx="11090273" cy="3494074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zh-CN" altLang="en-US" sz="1200" kern="1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endParaRPr>
            </a:p>
          </p:txBody>
        </p:sp>
        <p:pic>
          <p:nvPicPr>
            <p:cNvPr id="27" name="图片 26">
              <a:extLst>
                <a:ext uri="{FF2B5EF4-FFF2-40B4-BE49-F238E27FC236}">
                  <a16:creationId xmlns:a16="http://schemas.microsoft.com/office/drawing/2014/main" id="{35946525-AC70-383C-4B4A-468E52B471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20323" y="2952010"/>
              <a:ext cx="3551354" cy="3494074"/>
            </a:xfrm>
            <a:prstGeom prst="rect">
              <a:avLst/>
            </a:prstGeom>
          </p:spPr>
        </p:pic>
        <p:grpSp>
          <p:nvGrpSpPr>
            <p:cNvPr id="85" name="组合 84">
              <a:extLst>
                <a:ext uri="{FF2B5EF4-FFF2-40B4-BE49-F238E27FC236}">
                  <a16:creationId xmlns:a16="http://schemas.microsoft.com/office/drawing/2014/main" id="{B57FE656-AEC8-DBBD-817B-B6CFC4AF3B1F}"/>
                </a:ext>
              </a:extLst>
            </p:cNvPr>
            <p:cNvGrpSpPr/>
            <p:nvPr/>
          </p:nvGrpSpPr>
          <p:grpSpPr>
            <a:xfrm>
              <a:off x="780892" y="3054392"/>
              <a:ext cx="3434080" cy="962356"/>
              <a:chOff x="780892" y="3054392"/>
              <a:chExt cx="3434080" cy="962356"/>
            </a:xfrm>
          </p:grpSpPr>
          <p:sp>
            <p:nvSpPr>
              <p:cNvPr id="8" name="矩形 7">
                <a:extLst>
                  <a:ext uri="{FF2B5EF4-FFF2-40B4-BE49-F238E27FC236}">
                    <a16:creationId xmlns:a16="http://schemas.microsoft.com/office/drawing/2014/main" id="{7EC4CF7E-E078-DD1D-077D-09CA5DF3EEDE}"/>
                  </a:ext>
                </a:extLst>
              </p:cNvPr>
              <p:cNvSpPr/>
              <p:nvPr/>
            </p:nvSpPr>
            <p:spPr>
              <a:xfrm>
                <a:off x="780892" y="3054392"/>
                <a:ext cx="3434080" cy="962356"/>
              </a:xfrm>
              <a:prstGeom prst="rect">
                <a:avLst/>
              </a:prstGeom>
              <a:solidFill>
                <a:srgbClr val="00B0F0">
                  <a:alpha val="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0CDCD20E-9B34-10AA-00C0-1F2350B0DE4C}"/>
                  </a:ext>
                </a:extLst>
              </p:cNvPr>
              <p:cNvSpPr txBox="1"/>
              <p:nvPr/>
            </p:nvSpPr>
            <p:spPr>
              <a:xfrm>
                <a:off x="1520636" y="3079793"/>
                <a:ext cx="2499995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维布妥昔单抗与细胞表面的CD30受体特异性结合</a:t>
                </a:r>
              </a:p>
            </p:txBody>
          </p:sp>
          <p:sp>
            <p:nvSpPr>
              <p:cNvPr id="30" name="文本框 29">
                <a:extLst>
                  <a:ext uri="{FF2B5EF4-FFF2-40B4-BE49-F238E27FC236}">
                    <a16:creationId xmlns:a16="http://schemas.microsoft.com/office/drawing/2014/main" id="{7399DC0C-CDA3-175B-81AC-2346A4AC233D}"/>
                  </a:ext>
                </a:extLst>
              </p:cNvPr>
              <p:cNvSpPr txBox="1"/>
              <p:nvPr/>
            </p:nvSpPr>
            <p:spPr>
              <a:xfrm>
                <a:off x="1520636" y="3560460"/>
                <a:ext cx="2569658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zh-CN" altLang="en-US" sz="10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维布妥昔单抗对表达CD30细胞的细胞毒活性比CD30-细胞强300倍</a:t>
                </a:r>
                <a:r>
                  <a:rPr kumimoji="1" lang="en-US" altLang="zh-CN" sz="1000" b="0" i="0" kern="100" baseline="30000" noProof="0" dirty="0">
                    <a:solidFill>
                      <a:schemeClr val="dk1"/>
                    </a:solidFill>
                    <a:effectLst/>
                    <a:latin typeface="Microsoft YaHei" panose="020B0503020204020204" pitchFamily="34" charset="-122"/>
                    <a:ea typeface="Microsoft YaHei" panose="020B0503020204020204" pitchFamily="34" charset="-122"/>
                    <a:cs typeface="Times New Roman" panose="02020603050405020304" pitchFamily="18" charset="0"/>
                  </a:rPr>
                  <a:t>[1]</a:t>
                </a:r>
                <a:endParaRPr lang="zh-CN" altLang="en-US" sz="1000" baseline="30000" dirty="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31" name="文本框 30">
                <a:extLst>
                  <a:ext uri="{FF2B5EF4-FFF2-40B4-BE49-F238E27FC236}">
                    <a16:creationId xmlns:a16="http://schemas.microsoft.com/office/drawing/2014/main" id="{7A57769C-88F6-318C-ACC6-F881D4284FC5}"/>
                  </a:ext>
                </a:extLst>
              </p:cNvPr>
              <p:cNvSpPr txBox="1"/>
              <p:nvPr/>
            </p:nvSpPr>
            <p:spPr>
              <a:xfrm>
                <a:off x="975234" y="3529683"/>
                <a:ext cx="545402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2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高效安全</a:t>
                </a:r>
              </a:p>
            </p:txBody>
          </p:sp>
          <p:sp>
            <p:nvSpPr>
              <p:cNvPr id="32" name="Oval 4">
                <a:extLst>
                  <a:ext uri="{FF2B5EF4-FFF2-40B4-BE49-F238E27FC236}">
                    <a16:creationId xmlns:a16="http://schemas.microsoft.com/office/drawing/2014/main" id="{E3E29DA9-9874-A7CF-A8E8-E07AD9877E89}"/>
                  </a:ext>
                </a:extLst>
              </p:cNvPr>
              <p:cNvSpPr/>
              <p:nvPr/>
            </p:nvSpPr>
            <p:spPr>
              <a:xfrm>
                <a:off x="1062976" y="3127774"/>
                <a:ext cx="369919" cy="365702"/>
              </a:xfrm>
              <a:prstGeom prst="ellipse">
                <a:avLst/>
              </a:prstGeom>
              <a:solidFill>
                <a:srgbClr val="FFDFDD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solidFill>
                      <a:schemeClr val="accent1">
                        <a:lumMod val="7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1</a:t>
                </a:r>
                <a:endParaRPr lang="zh-CN" altLang="en-US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grpSp>
          <p:nvGrpSpPr>
            <p:cNvPr id="88" name="组合 87">
              <a:extLst>
                <a:ext uri="{FF2B5EF4-FFF2-40B4-BE49-F238E27FC236}">
                  <a16:creationId xmlns:a16="http://schemas.microsoft.com/office/drawing/2014/main" id="{9946089D-2CCE-6632-F80F-1F42DF5B3ABD}"/>
                </a:ext>
              </a:extLst>
            </p:cNvPr>
            <p:cNvGrpSpPr/>
            <p:nvPr/>
          </p:nvGrpSpPr>
          <p:grpSpPr>
            <a:xfrm>
              <a:off x="7977028" y="3054392"/>
              <a:ext cx="3434080" cy="962356"/>
              <a:chOff x="7977028" y="3054392"/>
              <a:chExt cx="3434080" cy="962356"/>
            </a:xfrm>
          </p:grpSpPr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313E6509-8F38-6C8A-DDB0-12FF884AEA42}"/>
                  </a:ext>
                </a:extLst>
              </p:cNvPr>
              <p:cNvSpPr/>
              <p:nvPr/>
            </p:nvSpPr>
            <p:spPr>
              <a:xfrm>
                <a:off x="7977028" y="3054392"/>
                <a:ext cx="3434080" cy="962356"/>
              </a:xfrm>
              <a:prstGeom prst="rect">
                <a:avLst/>
              </a:prstGeom>
              <a:solidFill>
                <a:srgbClr val="00B0F0">
                  <a:alpha val="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ea typeface="Microsoft YaHei" panose="020B0503020204020204" pitchFamily="34" charset="-122"/>
                </a:endParaRPr>
              </a:p>
            </p:txBody>
          </p:sp>
          <p:sp>
            <p:nvSpPr>
              <p:cNvPr id="43" name="文本框 42">
                <a:extLst>
                  <a:ext uri="{FF2B5EF4-FFF2-40B4-BE49-F238E27FC236}">
                    <a16:creationId xmlns:a16="http://schemas.microsoft.com/office/drawing/2014/main" id="{A4AA09A8-C1CE-BEFE-6DDC-94329B1E1D9C}"/>
                  </a:ext>
                </a:extLst>
              </p:cNvPr>
              <p:cNvSpPr txBox="1"/>
              <p:nvPr/>
            </p:nvSpPr>
            <p:spPr>
              <a:xfrm>
                <a:off x="8716772" y="3304738"/>
                <a:ext cx="2499995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MMAE</a:t>
                </a:r>
                <a:r>
                  <a:rPr lang="zh-CN" altLang="en-US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与细胞内的微管蛋白</a:t>
                </a:r>
              </a:p>
              <a:p>
                <a:pPr algn="ctr"/>
                <a:r>
                  <a:rPr lang="zh-CN" altLang="en-US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结合并破坏微管网络</a:t>
                </a:r>
              </a:p>
            </p:txBody>
          </p:sp>
          <p:sp>
            <p:nvSpPr>
              <p:cNvPr id="46" name="Oval 4">
                <a:extLst>
                  <a:ext uri="{FF2B5EF4-FFF2-40B4-BE49-F238E27FC236}">
                    <a16:creationId xmlns:a16="http://schemas.microsoft.com/office/drawing/2014/main" id="{E27F4103-7FC1-7932-359F-E143A49387D5}"/>
                  </a:ext>
                </a:extLst>
              </p:cNvPr>
              <p:cNvSpPr/>
              <p:nvPr/>
            </p:nvSpPr>
            <p:spPr>
              <a:xfrm>
                <a:off x="8259112" y="3352719"/>
                <a:ext cx="369919" cy="365702"/>
              </a:xfrm>
              <a:prstGeom prst="ellipse">
                <a:avLst/>
              </a:prstGeom>
              <a:solidFill>
                <a:srgbClr val="FFDFDD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solidFill>
                      <a:schemeClr val="accent1">
                        <a:lumMod val="7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4</a:t>
                </a:r>
                <a:endParaRPr lang="zh-CN" altLang="en-US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grpSp>
          <p:nvGrpSpPr>
            <p:cNvPr id="86" name="组合 85">
              <a:extLst>
                <a:ext uri="{FF2B5EF4-FFF2-40B4-BE49-F238E27FC236}">
                  <a16:creationId xmlns:a16="http://schemas.microsoft.com/office/drawing/2014/main" id="{B44A75DC-40A3-B1B6-DF94-FEB6B159A3AE}"/>
                </a:ext>
              </a:extLst>
            </p:cNvPr>
            <p:cNvGrpSpPr/>
            <p:nvPr/>
          </p:nvGrpSpPr>
          <p:grpSpPr>
            <a:xfrm>
              <a:off x="780892" y="4158939"/>
              <a:ext cx="3434080" cy="962356"/>
              <a:chOff x="780892" y="4228690"/>
              <a:chExt cx="3434080" cy="962356"/>
            </a:xfrm>
          </p:grpSpPr>
          <p:sp>
            <p:nvSpPr>
              <p:cNvPr id="55" name="矩形 54">
                <a:extLst>
                  <a:ext uri="{FF2B5EF4-FFF2-40B4-BE49-F238E27FC236}">
                    <a16:creationId xmlns:a16="http://schemas.microsoft.com/office/drawing/2014/main" id="{468F23AE-1180-512B-0433-44B6BB8D7D8F}"/>
                  </a:ext>
                </a:extLst>
              </p:cNvPr>
              <p:cNvSpPr/>
              <p:nvPr/>
            </p:nvSpPr>
            <p:spPr>
              <a:xfrm>
                <a:off x="780892" y="4228690"/>
                <a:ext cx="3434080" cy="962356"/>
              </a:xfrm>
              <a:prstGeom prst="rect">
                <a:avLst/>
              </a:prstGeom>
              <a:solidFill>
                <a:schemeClr val="bg1">
                  <a:lumMod val="50000"/>
                  <a:alpha val="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ea typeface="Microsoft YaHei" panose="020B0503020204020204" pitchFamily="34" charset="-122"/>
                </a:endParaRPr>
              </a:p>
            </p:txBody>
          </p:sp>
          <p:sp>
            <p:nvSpPr>
              <p:cNvPr id="57" name="文本框 56">
                <a:extLst>
                  <a:ext uri="{FF2B5EF4-FFF2-40B4-BE49-F238E27FC236}">
                    <a16:creationId xmlns:a16="http://schemas.microsoft.com/office/drawing/2014/main" id="{8EDFA1F9-5782-5F8B-487E-44BD1A87DFC6}"/>
                  </a:ext>
                </a:extLst>
              </p:cNvPr>
              <p:cNvSpPr txBox="1"/>
              <p:nvPr/>
            </p:nvSpPr>
            <p:spPr>
              <a:xfrm>
                <a:off x="1520636" y="4254091"/>
                <a:ext cx="2499995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维布妥昔单抗</a:t>
                </a:r>
                <a:r>
                  <a:rPr lang="en-US" altLang="zh-CN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-CD30</a:t>
                </a:r>
                <a:r>
                  <a:rPr lang="zh-CN" altLang="en-US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复合物被细胞快速内吞、转运至溶酶体</a:t>
                </a:r>
              </a:p>
            </p:txBody>
          </p:sp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AFDF11C6-DB90-B156-B8DC-49BD4BE3273D}"/>
                  </a:ext>
                </a:extLst>
              </p:cNvPr>
              <p:cNvSpPr txBox="1"/>
              <p:nvPr/>
            </p:nvSpPr>
            <p:spPr>
              <a:xfrm>
                <a:off x="1520636" y="4734758"/>
                <a:ext cx="2569658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zh-CN" altLang="en-US" sz="10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维布妥昔单抗结合肿瘤细胞表面</a:t>
                </a:r>
                <a:r>
                  <a:rPr lang="en-US" altLang="zh-CN" sz="10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CD30</a:t>
                </a:r>
                <a:r>
                  <a:rPr lang="zh-CN" altLang="en-US" sz="10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后</a:t>
                </a:r>
                <a:r>
                  <a:rPr lang="en-US" altLang="zh-CN" sz="10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48</a:t>
                </a:r>
                <a:r>
                  <a:rPr lang="zh-CN" altLang="en-US" sz="10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小时内被内吞</a:t>
                </a:r>
                <a:r>
                  <a:rPr kumimoji="1" lang="en-US" altLang="zh-CN" sz="1000" b="0" i="0" kern="100" baseline="30000" noProof="0" dirty="0">
                    <a:solidFill>
                      <a:schemeClr val="dk1"/>
                    </a:solidFill>
                    <a:effectLst/>
                    <a:latin typeface="Microsoft YaHei" panose="020B0503020204020204" pitchFamily="34" charset="-122"/>
                    <a:ea typeface="Microsoft YaHei" panose="020B0503020204020204" pitchFamily="34" charset="-122"/>
                    <a:cs typeface="Times New Roman" panose="02020603050405020304" pitchFamily="18" charset="0"/>
                  </a:rPr>
                  <a:t>[2]</a:t>
                </a:r>
                <a:endParaRPr lang="en-US" altLang="zh-CN" sz="1000" baseline="30000" dirty="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59" name="文本框 58">
                <a:extLst>
                  <a:ext uri="{FF2B5EF4-FFF2-40B4-BE49-F238E27FC236}">
                    <a16:creationId xmlns:a16="http://schemas.microsoft.com/office/drawing/2014/main" id="{5D1E55E4-D1D7-2570-7048-79504006C2C3}"/>
                  </a:ext>
                </a:extLst>
              </p:cNvPr>
              <p:cNvSpPr txBox="1"/>
              <p:nvPr/>
            </p:nvSpPr>
            <p:spPr>
              <a:xfrm>
                <a:off x="975234" y="4703981"/>
                <a:ext cx="545402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2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快速起效</a:t>
                </a:r>
              </a:p>
            </p:txBody>
          </p:sp>
          <p:sp>
            <p:nvSpPr>
              <p:cNvPr id="60" name="Oval 4">
                <a:extLst>
                  <a:ext uri="{FF2B5EF4-FFF2-40B4-BE49-F238E27FC236}">
                    <a16:creationId xmlns:a16="http://schemas.microsoft.com/office/drawing/2014/main" id="{99420279-C71C-A253-31E8-429AE976DA4C}"/>
                  </a:ext>
                </a:extLst>
              </p:cNvPr>
              <p:cNvSpPr/>
              <p:nvPr/>
            </p:nvSpPr>
            <p:spPr>
              <a:xfrm>
                <a:off x="1062976" y="4302072"/>
                <a:ext cx="369919" cy="365702"/>
              </a:xfrm>
              <a:prstGeom prst="ellipse">
                <a:avLst/>
              </a:prstGeom>
              <a:solidFill>
                <a:srgbClr val="FFDFDD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solidFill>
                      <a:schemeClr val="accent1">
                        <a:lumMod val="7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2</a:t>
                </a:r>
                <a:endParaRPr lang="zh-CN" altLang="en-US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grpSp>
          <p:nvGrpSpPr>
            <p:cNvPr id="89" name="组合 88">
              <a:extLst>
                <a:ext uri="{FF2B5EF4-FFF2-40B4-BE49-F238E27FC236}">
                  <a16:creationId xmlns:a16="http://schemas.microsoft.com/office/drawing/2014/main" id="{E4AC9D99-1D71-7741-CE7F-81147D31324A}"/>
                </a:ext>
              </a:extLst>
            </p:cNvPr>
            <p:cNvGrpSpPr/>
            <p:nvPr/>
          </p:nvGrpSpPr>
          <p:grpSpPr>
            <a:xfrm>
              <a:off x="7977028" y="4158939"/>
              <a:ext cx="3434080" cy="962356"/>
              <a:chOff x="7977028" y="4228690"/>
              <a:chExt cx="3434080" cy="962356"/>
            </a:xfrm>
          </p:grpSpPr>
          <p:sp>
            <p:nvSpPr>
              <p:cNvPr id="61" name="矩形 60">
                <a:extLst>
                  <a:ext uri="{FF2B5EF4-FFF2-40B4-BE49-F238E27FC236}">
                    <a16:creationId xmlns:a16="http://schemas.microsoft.com/office/drawing/2014/main" id="{24FACF0B-7A1B-C278-69BB-A96F960624AE}"/>
                  </a:ext>
                </a:extLst>
              </p:cNvPr>
              <p:cNvSpPr/>
              <p:nvPr/>
            </p:nvSpPr>
            <p:spPr>
              <a:xfrm>
                <a:off x="7977028" y="4228690"/>
                <a:ext cx="3434080" cy="962356"/>
              </a:xfrm>
              <a:prstGeom prst="rect">
                <a:avLst/>
              </a:prstGeom>
              <a:solidFill>
                <a:schemeClr val="bg1">
                  <a:lumMod val="50000"/>
                  <a:alpha val="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ea typeface="Microsoft YaHei" panose="020B0503020204020204" pitchFamily="34" charset="-122"/>
                </a:endParaRPr>
              </a:p>
            </p:txBody>
          </p:sp>
          <p:sp>
            <p:nvSpPr>
              <p:cNvPr id="63" name="文本框 62">
                <a:extLst>
                  <a:ext uri="{FF2B5EF4-FFF2-40B4-BE49-F238E27FC236}">
                    <a16:creationId xmlns:a16="http://schemas.microsoft.com/office/drawing/2014/main" id="{074B5C61-9531-2229-CBF1-3FFE2CB52265}"/>
                  </a:ext>
                </a:extLst>
              </p:cNvPr>
              <p:cNvSpPr txBox="1"/>
              <p:nvPr/>
            </p:nvSpPr>
            <p:spPr>
              <a:xfrm>
                <a:off x="8716772" y="4479036"/>
                <a:ext cx="2499995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细胞有丝分裂的</a:t>
                </a:r>
                <a:r>
                  <a:rPr lang="en-US" altLang="zh-CN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G2/M</a:t>
                </a:r>
              </a:p>
              <a:p>
                <a:pPr algn="ctr"/>
                <a:r>
                  <a:rPr lang="zh-CN" altLang="en-US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细胞周期停滞</a:t>
                </a:r>
                <a:r>
                  <a:rPr kumimoji="1" lang="en-US" altLang="zh-CN" sz="1200" b="0" i="0" kern="100" baseline="30000" noProof="0" dirty="0">
                    <a:solidFill>
                      <a:schemeClr val="dk1"/>
                    </a:solidFill>
                    <a:effectLst/>
                    <a:latin typeface="Microsoft YaHei" panose="020B0503020204020204" pitchFamily="34" charset="-122"/>
                    <a:ea typeface="Microsoft YaHei" panose="020B0503020204020204" pitchFamily="34" charset="-122"/>
                    <a:cs typeface="Times New Roman" panose="02020603050405020304" pitchFamily="18" charset="0"/>
                  </a:rPr>
                  <a:t>[4]</a:t>
                </a:r>
                <a:endParaRPr lang="zh-CN" altLang="en-US" sz="1200" b="1" dirty="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66" name="Oval 4">
                <a:extLst>
                  <a:ext uri="{FF2B5EF4-FFF2-40B4-BE49-F238E27FC236}">
                    <a16:creationId xmlns:a16="http://schemas.microsoft.com/office/drawing/2014/main" id="{E541DA38-DF58-A226-3725-D4FFC0A05F36}"/>
                  </a:ext>
                </a:extLst>
              </p:cNvPr>
              <p:cNvSpPr/>
              <p:nvPr/>
            </p:nvSpPr>
            <p:spPr>
              <a:xfrm>
                <a:off x="8259112" y="4527017"/>
                <a:ext cx="369919" cy="365702"/>
              </a:xfrm>
              <a:prstGeom prst="ellipse">
                <a:avLst/>
              </a:prstGeom>
              <a:solidFill>
                <a:srgbClr val="FFDFDD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solidFill>
                      <a:schemeClr val="accent1">
                        <a:lumMod val="7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5</a:t>
                </a:r>
                <a:endParaRPr lang="zh-CN" altLang="en-US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grpSp>
          <p:nvGrpSpPr>
            <p:cNvPr id="87" name="组合 86">
              <a:extLst>
                <a:ext uri="{FF2B5EF4-FFF2-40B4-BE49-F238E27FC236}">
                  <a16:creationId xmlns:a16="http://schemas.microsoft.com/office/drawing/2014/main" id="{560DA774-1923-8EAF-7565-BE9BFE39B685}"/>
                </a:ext>
              </a:extLst>
            </p:cNvPr>
            <p:cNvGrpSpPr/>
            <p:nvPr/>
          </p:nvGrpSpPr>
          <p:grpSpPr>
            <a:xfrm>
              <a:off x="780892" y="5263486"/>
              <a:ext cx="3434080" cy="962356"/>
              <a:chOff x="780892" y="5402988"/>
              <a:chExt cx="3434080" cy="962356"/>
            </a:xfrm>
          </p:grpSpPr>
          <p:sp>
            <p:nvSpPr>
              <p:cNvPr id="67" name="矩形 66">
                <a:extLst>
                  <a:ext uri="{FF2B5EF4-FFF2-40B4-BE49-F238E27FC236}">
                    <a16:creationId xmlns:a16="http://schemas.microsoft.com/office/drawing/2014/main" id="{5C4C7C87-D359-2B73-87C2-2F07C990ABC8}"/>
                  </a:ext>
                </a:extLst>
              </p:cNvPr>
              <p:cNvSpPr/>
              <p:nvPr/>
            </p:nvSpPr>
            <p:spPr>
              <a:xfrm>
                <a:off x="780892" y="5402988"/>
                <a:ext cx="3434080" cy="962356"/>
              </a:xfrm>
              <a:prstGeom prst="rect">
                <a:avLst/>
              </a:prstGeom>
              <a:solidFill>
                <a:srgbClr val="00B0F0">
                  <a:alpha val="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ea typeface="Microsoft YaHei" panose="020B0503020204020204" pitchFamily="34" charset="-122"/>
                </a:endParaRPr>
              </a:p>
            </p:txBody>
          </p:sp>
          <p:sp>
            <p:nvSpPr>
              <p:cNvPr id="69" name="文本框 68">
                <a:extLst>
                  <a:ext uri="{FF2B5EF4-FFF2-40B4-BE49-F238E27FC236}">
                    <a16:creationId xmlns:a16="http://schemas.microsoft.com/office/drawing/2014/main" id="{F0499C07-1CC7-0457-6414-273F6F150FEF}"/>
                  </a:ext>
                </a:extLst>
              </p:cNvPr>
              <p:cNvSpPr txBox="1"/>
              <p:nvPr/>
            </p:nvSpPr>
            <p:spPr>
              <a:xfrm>
                <a:off x="1520636" y="5428389"/>
                <a:ext cx="2499995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维布妥昔单抗的连接桥被降解后释放</a:t>
                </a:r>
                <a:r>
                  <a:rPr lang="en-US" altLang="zh-CN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MMAE</a:t>
                </a:r>
              </a:p>
            </p:txBody>
          </p:sp>
          <p:sp>
            <p:nvSpPr>
              <p:cNvPr id="70" name="文本框 69">
                <a:extLst>
                  <a:ext uri="{FF2B5EF4-FFF2-40B4-BE49-F238E27FC236}">
                    <a16:creationId xmlns:a16="http://schemas.microsoft.com/office/drawing/2014/main" id="{0DC5BBD1-955F-257A-8EE7-98A0424095FC}"/>
                  </a:ext>
                </a:extLst>
              </p:cNvPr>
              <p:cNvSpPr txBox="1"/>
              <p:nvPr/>
            </p:nvSpPr>
            <p:spPr>
              <a:xfrm>
                <a:off x="1520636" y="5909056"/>
                <a:ext cx="2605346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zh-CN" altLang="en-US" sz="10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内吞后约</a:t>
                </a:r>
                <a:r>
                  <a:rPr lang="en-US" altLang="zh-CN" sz="10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24</a:t>
                </a:r>
                <a:r>
                  <a:rPr lang="zh-CN" altLang="en-US" sz="10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小时内，二肽键被溶酶体蛋白酶有效切割，导致细胞内</a:t>
                </a:r>
                <a:r>
                  <a:rPr lang="en-US" altLang="zh-CN" sz="10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MMAE</a:t>
                </a:r>
                <a:r>
                  <a:rPr lang="zh-CN" altLang="en-US" sz="10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浓度升高</a:t>
                </a:r>
                <a:r>
                  <a:rPr kumimoji="1" lang="en-US" altLang="zh-CN" sz="1000" b="0" i="0" kern="100" baseline="30000" noProof="0" dirty="0">
                    <a:solidFill>
                      <a:schemeClr val="dk1"/>
                    </a:solidFill>
                    <a:effectLst/>
                    <a:latin typeface="Microsoft YaHei" panose="020B0503020204020204" pitchFamily="34" charset="-122"/>
                    <a:ea typeface="Microsoft YaHei" panose="020B0503020204020204" pitchFamily="34" charset="-122"/>
                    <a:cs typeface="Times New Roman" panose="02020603050405020304" pitchFamily="18" charset="0"/>
                  </a:rPr>
                  <a:t>[3]</a:t>
                </a:r>
                <a:endParaRPr lang="en-US" altLang="zh-CN" sz="1000" baseline="30000" dirty="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71" name="文本框 70">
                <a:extLst>
                  <a:ext uri="{FF2B5EF4-FFF2-40B4-BE49-F238E27FC236}">
                    <a16:creationId xmlns:a16="http://schemas.microsoft.com/office/drawing/2014/main" id="{115C72BB-65BE-5897-FD98-F7E9530EB7E3}"/>
                  </a:ext>
                </a:extLst>
              </p:cNvPr>
              <p:cNvSpPr txBox="1"/>
              <p:nvPr/>
            </p:nvSpPr>
            <p:spPr>
              <a:xfrm>
                <a:off x="975234" y="5878279"/>
                <a:ext cx="545402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2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快速起效</a:t>
                </a:r>
              </a:p>
            </p:txBody>
          </p:sp>
          <p:sp>
            <p:nvSpPr>
              <p:cNvPr id="72" name="Oval 4">
                <a:extLst>
                  <a:ext uri="{FF2B5EF4-FFF2-40B4-BE49-F238E27FC236}">
                    <a16:creationId xmlns:a16="http://schemas.microsoft.com/office/drawing/2014/main" id="{88BD3416-D3AE-6B4E-8250-9B394CEDDDF9}"/>
                  </a:ext>
                </a:extLst>
              </p:cNvPr>
              <p:cNvSpPr/>
              <p:nvPr/>
            </p:nvSpPr>
            <p:spPr>
              <a:xfrm>
                <a:off x="1062976" y="5476370"/>
                <a:ext cx="369919" cy="365702"/>
              </a:xfrm>
              <a:prstGeom prst="ellipse">
                <a:avLst/>
              </a:prstGeom>
              <a:solidFill>
                <a:srgbClr val="FFDFDD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solidFill>
                      <a:schemeClr val="accent1">
                        <a:lumMod val="7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3</a:t>
                </a:r>
                <a:endParaRPr lang="zh-CN" altLang="en-US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grpSp>
          <p:nvGrpSpPr>
            <p:cNvPr id="90" name="组合 89">
              <a:extLst>
                <a:ext uri="{FF2B5EF4-FFF2-40B4-BE49-F238E27FC236}">
                  <a16:creationId xmlns:a16="http://schemas.microsoft.com/office/drawing/2014/main" id="{9F919E86-E4BF-85E7-2D23-AD7885FFFF22}"/>
                </a:ext>
              </a:extLst>
            </p:cNvPr>
            <p:cNvGrpSpPr/>
            <p:nvPr/>
          </p:nvGrpSpPr>
          <p:grpSpPr>
            <a:xfrm>
              <a:off x="7977028" y="5263486"/>
              <a:ext cx="3434080" cy="962356"/>
              <a:chOff x="7977028" y="5402988"/>
              <a:chExt cx="3434080" cy="962356"/>
            </a:xfrm>
          </p:grpSpPr>
          <p:sp>
            <p:nvSpPr>
              <p:cNvPr id="73" name="矩形 72">
                <a:extLst>
                  <a:ext uri="{FF2B5EF4-FFF2-40B4-BE49-F238E27FC236}">
                    <a16:creationId xmlns:a16="http://schemas.microsoft.com/office/drawing/2014/main" id="{F07410B7-98D4-881D-9690-E23AC4F89F63}"/>
                  </a:ext>
                </a:extLst>
              </p:cNvPr>
              <p:cNvSpPr/>
              <p:nvPr/>
            </p:nvSpPr>
            <p:spPr>
              <a:xfrm>
                <a:off x="7977028" y="5402988"/>
                <a:ext cx="3434080" cy="962356"/>
              </a:xfrm>
              <a:prstGeom prst="rect">
                <a:avLst/>
              </a:prstGeom>
              <a:solidFill>
                <a:srgbClr val="00B0F0">
                  <a:alpha val="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ea typeface="Microsoft YaHei" panose="020B0503020204020204" pitchFamily="34" charset="-122"/>
                </a:endParaRPr>
              </a:p>
            </p:txBody>
          </p:sp>
          <p:sp>
            <p:nvSpPr>
              <p:cNvPr id="75" name="文本框 74">
                <a:extLst>
                  <a:ext uri="{FF2B5EF4-FFF2-40B4-BE49-F238E27FC236}">
                    <a16:creationId xmlns:a16="http://schemas.microsoft.com/office/drawing/2014/main" id="{F3BE18F4-1349-6063-9B0E-AB38F126A485}"/>
                  </a:ext>
                </a:extLst>
              </p:cNvPr>
              <p:cNvSpPr txBox="1"/>
              <p:nvPr/>
            </p:nvSpPr>
            <p:spPr>
              <a:xfrm>
                <a:off x="8716772" y="5593267"/>
                <a:ext cx="2499995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2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细胞凋亡</a:t>
                </a:r>
              </a:p>
            </p:txBody>
          </p:sp>
          <p:sp>
            <p:nvSpPr>
              <p:cNvPr id="78" name="Oval 4">
                <a:extLst>
                  <a:ext uri="{FF2B5EF4-FFF2-40B4-BE49-F238E27FC236}">
                    <a16:creationId xmlns:a16="http://schemas.microsoft.com/office/drawing/2014/main" id="{6EF036D7-191D-59E6-D082-B2F35B45EB66}"/>
                  </a:ext>
                </a:extLst>
              </p:cNvPr>
              <p:cNvSpPr/>
              <p:nvPr/>
            </p:nvSpPr>
            <p:spPr>
              <a:xfrm>
                <a:off x="8259112" y="5548915"/>
                <a:ext cx="369919" cy="365702"/>
              </a:xfrm>
              <a:prstGeom prst="ellipse">
                <a:avLst/>
              </a:prstGeom>
              <a:solidFill>
                <a:srgbClr val="FFDFDD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solidFill>
                      <a:schemeClr val="accent1">
                        <a:lumMod val="7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6</a:t>
                </a:r>
                <a:endParaRPr lang="zh-CN" altLang="en-US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sp>
          <p:nvSpPr>
            <p:cNvPr id="84" name="文本框 83">
              <a:extLst>
                <a:ext uri="{FF2B5EF4-FFF2-40B4-BE49-F238E27FC236}">
                  <a16:creationId xmlns:a16="http://schemas.microsoft.com/office/drawing/2014/main" id="{CF3AD3CB-F9A3-A606-E0CA-2858DD51A261}"/>
                </a:ext>
              </a:extLst>
            </p:cNvPr>
            <p:cNvSpPr txBox="1"/>
            <p:nvPr/>
          </p:nvSpPr>
          <p:spPr>
            <a:xfrm>
              <a:off x="8716772" y="5766380"/>
              <a:ext cx="2587736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defRPr sz="1000"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>
                  <a:ea typeface="Microsoft YaHei" panose="020B0503020204020204" pitchFamily="34" charset="-122"/>
                </a:rPr>
                <a:t>相较于紫杉醇，MMAE对肿瘤细胞的细胞毒性是紫杉醇的25倍</a:t>
              </a:r>
              <a:r>
                <a:rPr lang="en-US" altLang="zh-CN" baseline="30000" dirty="0">
                  <a:ea typeface="Microsoft YaHei" panose="020B0503020204020204" pitchFamily="34" charset="-122"/>
                </a:rPr>
                <a:t>[5]</a:t>
              </a:r>
              <a:endParaRPr lang="zh-CN" altLang="en-US" baseline="30000" dirty="0">
                <a:ea typeface="Microsoft YaHei" panose="020B0503020204020204" pitchFamily="34" charset="-122"/>
              </a:endParaRPr>
            </a:p>
          </p:txBody>
        </p:sp>
        <p:cxnSp>
          <p:nvCxnSpPr>
            <p:cNvPr id="95" name="直接连接符 94">
              <a:extLst>
                <a:ext uri="{FF2B5EF4-FFF2-40B4-BE49-F238E27FC236}">
                  <a16:creationId xmlns:a16="http://schemas.microsoft.com/office/drawing/2014/main" id="{DB1443C4-664C-AE6D-3D3C-E79AD9165E4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14972" y="3304738"/>
              <a:ext cx="1630997" cy="0"/>
            </a:xfrm>
            <a:prstGeom prst="line">
              <a:avLst/>
            </a:prstGeom>
            <a:ln w="9525">
              <a:solidFill>
                <a:srgbClr val="75B0D7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连接符: 肘形 98">
              <a:extLst>
                <a:ext uri="{FF2B5EF4-FFF2-40B4-BE49-F238E27FC236}">
                  <a16:creationId xmlns:a16="http://schemas.microsoft.com/office/drawing/2014/main" id="{C6694824-DC91-D8D1-695A-5232DB055F44}"/>
                </a:ext>
              </a:extLst>
            </p:cNvPr>
            <p:cNvCxnSpPr/>
            <p:nvPr/>
          </p:nvCxnSpPr>
          <p:spPr>
            <a:xfrm rot="10800000" flipV="1">
              <a:off x="4214973" y="3789363"/>
              <a:ext cx="1010171" cy="808660"/>
            </a:xfrm>
            <a:prstGeom prst="bentConnector3">
              <a:avLst>
                <a:gd name="adj1" fmla="val 77156"/>
              </a:avLst>
            </a:prstGeom>
            <a:ln w="9525">
              <a:solidFill>
                <a:schemeClr val="bg1">
                  <a:lumMod val="50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连接符: 肘形 101">
              <a:extLst>
                <a:ext uri="{FF2B5EF4-FFF2-40B4-BE49-F238E27FC236}">
                  <a16:creationId xmlns:a16="http://schemas.microsoft.com/office/drawing/2014/main" id="{CB14FB69-7FCE-D68B-6632-1DF276C6188A}"/>
                </a:ext>
              </a:extLst>
            </p:cNvPr>
            <p:cNvCxnSpPr>
              <a:cxnSpLocks/>
              <a:endCxn id="67" idx="3"/>
            </p:cNvCxnSpPr>
            <p:nvPr/>
          </p:nvCxnSpPr>
          <p:spPr>
            <a:xfrm rot="10800000" flipV="1">
              <a:off x="4214972" y="4870950"/>
              <a:ext cx="928528" cy="873714"/>
            </a:xfrm>
            <a:prstGeom prst="bentConnector3">
              <a:avLst>
                <a:gd name="adj1" fmla="val 74620"/>
              </a:avLst>
            </a:prstGeom>
            <a:ln w="9525">
              <a:solidFill>
                <a:srgbClr val="75B0D7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连接符: 肘形 103">
              <a:extLst>
                <a:ext uri="{FF2B5EF4-FFF2-40B4-BE49-F238E27FC236}">
                  <a16:creationId xmlns:a16="http://schemas.microsoft.com/office/drawing/2014/main" id="{0F4CC789-B09E-0894-6EBB-290DE5FEA677}"/>
                </a:ext>
              </a:extLst>
            </p:cNvPr>
            <p:cNvCxnSpPr/>
            <p:nvPr/>
          </p:nvCxnSpPr>
          <p:spPr>
            <a:xfrm flipV="1">
              <a:off x="6451600" y="4409285"/>
              <a:ext cx="1525428" cy="655832"/>
            </a:xfrm>
            <a:prstGeom prst="bentConnector3">
              <a:avLst>
                <a:gd name="adj1" fmla="val 91836"/>
              </a:avLst>
            </a:prstGeom>
            <a:ln w="9525">
              <a:solidFill>
                <a:schemeClr val="bg1">
                  <a:lumMod val="50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连接符: 肘形 106">
              <a:extLst>
                <a:ext uri="{FF2B5EF4-FFF2-40B4-BE49-F238E27FC236}">
                  <a16:creationId xmlns:a16="http://schemas.microsoft.com/office/drawing/2014/main" id="{0001EC9D-73A7-C064-2FE1-04D26C334365}"/>
                </a:ext>
              </a:extLst>
            </p:cNvPr>
            <p:cNvCxnSpPr>
              <a:cxnSpLocks/>
              <a:endCxn id="41" idx="1"/>
            </p:cNvCxnSpPr>
            <p:nvPr/>
          </p:nvCxnSpPr>
          <p:spPr>
            <a:xfrm flipV="1">
              <a:off x="7196704" y="3535570"/>
              <a:ext cx="780324" cy="600877"/>
            </a:xfrm>
            <a:prstGeom prst="bentConnector3">
              <a:avLst/>
            </a:prstGeom>
            <a:ln w="9525">
              <a:solidFill>
                <a:srgbClr val="75B0D7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D684AB50-C8F6-4978-8250-C948889BA5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30744"/>
            <a:ext cx="11137568" cy="703942"/>
          </a:xfrm>
        </p:spPr>
        <p:txBody>
          <a:bodyPr vert="horz"/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维布妥昔单抗是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全球唯一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获批的靶向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CD30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的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抗体偶联药物（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ADC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）</a:t>
            </a:r>
            <a:endParaRPr lang="zh-CN" altLang="en-US" sz="3600" dirty="0">
              <a:solidFill>
                <a:srgbClr val="C00000"/>
              </a:solidFill>
              <a:ea typeface="Microsoft YaHei" panose="020B0503020204020204" pitchFamily="34" charset="-122"/>
            </a:endParaRPr>
          </a:p>
        </p:txBody>
      </p:sp>
      <p:sp>
        <p:nvSpPr>
          <p:cNvPr id="52" name="Rectangle 61">
            <a:extLst>
              <a:ext uri="{FF2B5EF4-FFF2-40B4-BE49-F238E27FC236}">
                <a16:creationId xmlns:a16="http://schemas.microsoft.com/office/drawing/2014/main" id="{94A5C4E1-81CF-4309-92E8-18B599032F3D}"/>
              </a:ext>
            </a:extLst>
          </p:cNvPr>
          <p:cNvSpPr/>
          <p:nvPr/>
        </p:nvSpPr>
        <p:spPr>
          <a:xfrm>
            <a:off x="8503920" y="1130708"/>
            <a:ext cx="3128381" cy="415730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zh-CN" altLang="en-US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关键组成部分</a:t>
            </a:r>
            <a:endParaRPr lang="en-US" altLang="zh-CN" sz="14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8" name="Rectangle 7">
            <a:extLst>
              <a:ext uri="{FF2B5EF4-FFF2-40B4-BE49-F238E27FC236}">
                <a16:creationId xmlns:a16="http://schemas.microsoft.com/office/drawing/2014/main" id="{3C8FBB4E-53DA-46C2-9DC4-4035F3049906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创新性</a:t>
            </a:r>
          </a:p>
        </p:txBody>
      </p:sp>
      <p:sp>
        <p:nvSpPr>
          <p:cNvPr id="100" name="圆角矩形 20">
            <a:extLst>
              <a:ext uri="{FF2B5EF4-FFF2-40B4-BE49-F238E27FC236}">
                <a16:creationId xmlns:a16="http://schemas.microsoft.com/office/drawing/2014/main" id="{B29D41D2-AB77-4E57-BFB4-E1610D6800C7}"/>
              </a:ext>
            </a:extLst>
          </p:cNvPr>
          <p:cNvSpPr/>
          <p:nvPr/>
        </p:nvSpPr>
        <p:spPr>
          <a:xfrm>
            <a:off x="609228" y="1568953"/>
            <a:ext cx="7770715" cy="1157606"/>
          </a:xfrm>
          <a:prstGeom prst="roundRect">
            <a:avLst>
              <a:gd name="adj" fmla="val 0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marL="173736" indent="-173736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MAE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对肿瘤细胞的细胞毒性十分强大，高效致死肿瘤</a:t>
            </a:r>
            <a:endParaRPr lang="en-US" altLang="zh-CN" sz="14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3736" indent="-173736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结合肿瘤细胞</a:t>
            </a:r>
            <a:r>
              <a:rPr lang="en-US" altLang="zh-CN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D30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前不会杀伤细胞，对于正常细胞安全无毒，减轻全身暴露毒性</a:t>
            </a:r>
            <a:endParaRPr lang="en-US" altLang="zh-CN" sz="14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3736" indent="-173736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D30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强表达于</a:t>
            </a:r>
            <a:r>
              <a:rPr lang="en-US" altLang="zh-CN" sz="14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ALCL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en-US" altLang="zh-CN" sz="14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cALCL</a:t>
            </a:r>
            <a:r>
              <a:rPr lang="en-US" altLang="zh-CN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/MF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en-US" altLang="zh-CN" sz="14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HL</a:t>
            </a: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肿瘤细胞，是理想治疗靶点</a:t>
            </a:r>
          </a:p>
          <a:p>
            <a:pPr marL="173736" indent="-173736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在中国和美国都因临床急需和治疗优势被纳入</a:t>
            </a:r>
            <a:r>
              <a:rPr lang="zh-CN" altLang="en-US" sz="14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优先审评</a:t>
            </a:r>
            <a:r>
              <a:rPr kumimoji="1" lang="en-US" altLang="zh-CN" sz="1400" b="0" i="0" kern="100" baseline="30000" noProof="0" dirty="0">
                <a:solidFill>
                  <a:schemeClr val="dk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[4-5]</a:t>
            </a:r>
            <a:endParaRPr lang="en-US" altLang="zh-CN" sz="14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03" name="直接连接符 102">
            <a:extLst>
              <a:ext uri="{FF2B5EF4-FFF2-40B4-BE49-F238E27FC236}">
                <a16:creationId xmlns:a16="http://schemas.microsoft.com/office/drawing/2014/main" id="{06F490EC-2A49-4B88-AC1A-774EFFDB1BED}"/>
              </a:ext>
            </a:extLst>
          </p:cNvPr>
          <p:cNvCxnSpPr>
            <a:cxnSpLocks/>
            <a:endCxn id="120" idx="1"/>
          </p:cNvCxnSpPr>
          <p:nvPr/>
        </p:nvCxnSpPr>
        <p:spPr>
          <a:xfrm flipV="1">
            <a:off x="9121669" y="1753234"/>
            <a:ext cx="502156" cy="136239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直接连接符 105">
            <a:extLst>
              <a:ext uri="{FF2B5EF4-FFF2-40B4-BE49-F238E27FC236}">
                <a16:creationId xmlns:a16="http://schemas.microsoft.com/office/drawing/2014/main" id="{DAA77763-015D-4C35-B182-F640886D92F7}"/>
              </a:ext>
            </a:extLst>
          </p:cNvPr>
          <p:cNvCxnSpPr>
            <a:cxnSpLocks/>
          </p:cNvCxnSpPr>
          <p:nvPr/>
        </p:nvCxnSpPr>
        <p:spPr>
          <a:xfrm>
            <a:off x="9424372" y="2271384"/>
            <a:ext cx="260860" cy="194701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8" name="组合 107">
            <a:extLst>
              <a:ext uri="{FF2B5EF4-FFF2-40B4-BE49-F238E27FC236}">
                <a16:creationId xmlns:a16="http://schemas.microsoft.com/office/drawing/2014/main" id="{50377EBB-63A3-43D4-B032-7CA40A4AD72E}"/>
              </a:ext>
            </a:extLst>
          </p:cNvPr>
          <p:cNvGrpSpPr/>
          <p:nvPr/>
        </p:nvGrpSpPr>
        <p:grpSpPr>
          <a:xfrm>
            <a:off x="8607730" y="1726272"/>
            <a:ext cx="354837" cy="926855"/>
            <a:chOff x="3487196" y="2065247"/>
            <a:chExt cx="833344" cy="2688851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11" name="矩形: 圆角 110">
              <a:extLst>
                <a:ext uri="{FF2B5EF4-FFF2-40B4-BE49-F238E27FC236}">
                  <a16:creationId xmlns:a16="http://schemas.microsoft.com/office/drawing/2014/main" id="{FC3C5431-C327-4C6B-B556-2ADD32BB25C8}"/>
                </a:ext>
              </a:extLst>
            </p:cNvPr>
            <p:cNvSpPr/>
            <p:nvPr/>
          </p:nvSpPr>
          <p:spPr>
            <a:xfrm>
              <a:off x="4097185" y="2065247"/>
              <a:ext cx="223355" cy="186381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13" name="矩形: 圆角 112">
              <a:extLst>
                <a:ext uri="{FF2B5EF4-FFF2-40B4-BE49-F238E27FC236}">
                  <a16:creationId xmlns:a16="http://schemas.microsoft.com/office/drawing/2014/main" id="{85596D77-4BD3-4B91-9135-FE797796F587}"/>
                </a:ext>
              </a:extLst>
            </p:cNvPr>
            <p:cNvSpPr/>
            <p:nvPr/>
          </p:nvSpPr>
          <p:spPr>
            <a:xfrm rot="2658677">
              <a:off x="3740411" y="3604201"/>
              <a:ext cx="233015" cy="1149897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14" name="矩形: 圆角 113">
              <a:extLst>
                <a:ext uri="{FF2B5EF4-FFF2-40B4-BE49-F238E27FC236}">
                  <a16:creationId xmlns:a16="http://schemas.microsoft.com/office/drawing/2014/main" id="{59CF8490-9A82-4AED-8D53-02CD74044CCB}"/>
                </a:ext>
              </a:extLst>
            </p:cNvPr>
            <p:cNvSpPr/>
            <p:nvPr/>
          </p:nvSpPr>
          <p:spPr>
            <a:xfrm rot="2658677">
              <a:off x="3487196" y="3418072"/>
              <a:ext cx="233015" cy="1063568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15" name="矩形: 圆角 114">
            <a:extLst>
              <a:ext uri="{FF2B5EF4-FFF2-40B4-BE49-F238E27FC236}">
                <a16:creationId xmlns:a16="http://schemas.microsoft.com/office/drawing/2014/main" id="{B8BFFF10-8D64-441B-B43E-AD6A43DD2397}"/>
              </a:ext>
            </a:extLst>
          </p:cNvPr>
          <p:cNvSpPr/>
          <p:nvPr/>
        </p:nvSpPr>
        <p:spPr>
          <a:xfrm rot="18941323" flipH="1">
            <a:off x="9165118" y="2256754"/>
            <a:ext cx="102148" cy="39637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16" name="矩形: 圆角 115">
            <a:extLst>
              <a:ext uri="{FF2B5EF4-FFF2-40B4-BE49-F238E27FC236}">
                <a16:creationId xmlns:a16="http://schemas.microsoft.com/office/drawing/2014/main" id="{0FF85E83-6CC3-4988-8560-909082154CDD}"/>
              </a:ext>
            </a:extLst>
          </p:cNvPr>
          <p:cNvSpPr/>
          <p:nvPr/>
        </p:nvSpPr>
        <p:spPr>
          <a:xfrm rot="18941323" flipH="1">
            <a:off x="9276122" y="2192595"/>
            <a:ext cx="102148" cy="366615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17" name="椭圆 116">
            <a:extLst>
              <a:ext uri="{FF2B5EF4-FFF2-40B4-BE49-F238E27FC236}">
                <a16:creationId xmlns:a16="http://schemas.microsoft.com/office/drawing/2014/main" id="{EEB67F80-B7F0-4CA3-8F10-B25E9B0B5AD9}"/>
              </a:ext>
            </a:extLst>
          </p:cNvPr>
          <p:cNvSpPr/>
          <p:nvPr/>
        </p:nvSpPr>
        <p:spPr>
          <a:xfrm>
            <a:off x="8694533" y="2045593"/>
            <a:ext cx="116038" cy="93938"/>
          </a:xfrm>
          <a:prstGeom prst="ellipse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18" name="椭圆 117">
            <a:extLst>
              <a:ext uri="{FF2B5EF4-FFF2-40B4-BE49-F238E27FC236}">
                <a16:creationId xmlns:a16="http://schemas.microsoft.com/office/drawing/2014/main" id="{E14888FB-8A29-4BBC-8A88-5DA1EBC8C340}"/>
              </a:ext>
            </a:extLst>
          </p:cNvPr>
          <p:cNvSpPr/>
          <p:nvPr/>
        </p:nvSpPr>
        <p:spPr>
          <a:xfrm>
            <a:off x="8540830" y="2190306"/>
            <a:ext cx="116038" cy="93938"/>
          </a:xfrm>
          <a:prstGeom prst="ellipse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19" name="椭圆 118">
            <a:extLst>
              <a:ext uri="{FF2B5EF4-FFF2-40B4-BE49-F238E27FC236}">
                <a16:creationId xmlns:a16="http://schemas.microsoft.com/office/drawing/2014/main" id="{E998391C-F22E-4F77-8B0F-024652BD3E36}"/>
              </a:ext>
            </a:extLst>
          </p:cNvPr>
          <p:cNvSpPr/>
          <p:nvPr/>
        </p:nvSpPr>
        <p:spPr>
          <a:xfrm>
            <a:off x="9318520" y="2189299"/>
            <a:ext cx="116038" cy="93938"/>
          </a:xfrm>
          <a:prstGeom prst="ellipse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EDD60AA4-8A68-4CA0-9F77-92D2BB6678DC}"/>
              </a:ext>
            </a:extLst>
          </p:cNvPr>
          <p:cNvSpPr txBox="1"/>
          <p:nvPr/>
        </p:nvSpPr>
        <p:spPr>
          <a:xfrm>
            <a:off x="9623825" y="1599345"/>
            <a:ext cx="17920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抗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D3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单克隆抗体</a:t>
            </a: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1" name="文本框 120">
            <a:extLst>
              <a:ext uri="{FF2B5EF4-FFF2-40B4-BE49-F238E27FC236}">
                <a16:creationId xmlns:a16="http://schemas.microsoft.com/office/drawing/2014/main" id="{D9B9AE91-438C-49F1-B343-BE82E45EF3CC}"/>
              </a:ext>
            </a:extLst>
          </p:cNvPr>
          <p:cNvSpPr txBox="1"/>
          <p:nvPr/>
        </p:nvSpPr>
        <p:spPr>
          <a:xfrm>
            <a:off x="9604749" y="1937156"/>
            <a:ext cx="17920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蛋白酶可切割连接桥</a:t>
            </a: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2" name="文本框 121">
            <a:extLst>
              <a:ext uri="{FF2B5EF4-FFF2-40B4-BE49-F238E27FC236}">
                <a16:creationId xmlns:a16="http://schemas.microsoft.com/office/drawing/2014/main" id="{C1DAB8A0-1152-4412-9DAB-33548624B085}"/>
              </a:ext>
            </a:extLst>
          </p:cNvPr>
          <p:cNvSpPr txBox="1"/>
          <p:nvPr/>
        </p:nvSpPr>
        <p:spPr>
          <a:xfrm>
            <a:off x="9623260" y="2240055"/>
            <a:ext cx="23295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甲基瑞奥西汀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</a:t>
            </a: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MMAE)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微管破坏剂</a:t>
            </a: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3" name="矩形 122">
            <a:extLst>
              <a:ext uri="{FF2B5EF4-FFF2-40B4-BE49-F238E27FC236}">
                <a16:creationId xmlns:a16="http://schemas.microsoft.com/office/drawing/2014/main" id="{AFC9958F-32F6-4007-B72A-54085A5AC104}"/>
              </a:ext>
            </a:extLst>
          </p:cNvPr>
          <p:cNvSpPr/>
          <p:nvPr/>
        </p:nvSpPr>
        <p:spPr>
          <a:xfrm>
            <a:off x="9086808" y="2073714"/>
            <a:ext cx="106744" cy="489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5" name="椭圆 124">
            <a:extLst>
              <a:ext uri="{FF2B5EF4-FFF2-40B4-BE49-F238E27FC236}">
                <a16:creationId xmlns:a16="http://schemas.microsoft.com/office/drawing/2014/main" id="{252EAC8D-05D7-4F00-8DD9-A3D5D283F7E0}"/>
              </a:ext>
            </a:extLst>
          </p:cNvPr>
          <p:cNvSpPr/>
          <p:nvPr/>
        </p:nvSpPr>
        <p:spPr>
          <a:xfrm>
            <a:off x="9170911" y="2045593"/>
            <a:ext cx="116038" cy="93938"/>
          </a:xfrm>
          <a:prstGeom prst="ellipse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26" name="矩形: 圆角 125">
            <a:extLst>
              <a:ext uri="{FF2B5EF4-FFF2-40B4-BE49-F238E27FC236}">
                <a16:creationId xmlns:a16="http://schemas.microsoft.com/office/drawing/2014/main" id="{646E5C1D-CAF1-4701-BFCE-1DBEC710CC91}"/>
              </a:ext>
            </a:extLst>
          </p:cNvPr>
          <p:cNvSpPr/>
          <p:nvPr/>
        </p:nvSpPr>
        <p:spPr>
          <a:xfrm flipH="1">
            <a:off x="9012952" y="1726272"/>
            <a:ext cx="97913" cy="64246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/>
          </a:p>
        </p:txBody>
      </p:sp>
      <p:cxnSp>
        <p:nvCxnSpPr>
          <p:cNvPr id="105" name="直接连接符 104">
            <a:extLst>
              <a:ext uri="{FF2B5EF4-FFF2-40B4-BE49-F238E27FC236}">
                <a16:creationId xmlns:a16="http://schemas.microsoft.com/office/drawing/2014/main" id="{D0BEBA6E-F976-4AC5-90B9-E2F2AF6B20D3}"/>
              </a:ext>
            </a:extLst>
          </p:cNvPr>
          <p:cNvCxnSpPr>
            <a:cxnSpLocks/>
          </p:cNvCxnSpPr>
          <p:nvPr/>
        </p:nvCxnSpPr>
        <p:spPr>
          <a:xfrm>
            <a:off x="9145624" y="2093251"/>
            <a:ext cx="522141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72689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1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FF&quot; g=&quot;67&quot; b=&quot;5C&quot;/&gt;&lt;/elem&gt;&lt;elem m_fUsage=&quot;9.00000000000000022204E-01&quot;&gt;&lt;m_msothmcolidx val=&quot;0&quot;/&gt;&lt;m_rgb r=&quot;C0&quot; g=&quot;00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3pkwC83viL4FX0uSM6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S1a3LZeqdNd79ur8xu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yl7Zk8eZXR92FaSbQe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rXxaZNIJ.zhhd0jzQb.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pYGttMkKgg2lrwJ5HG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dLk1s5MyfTzZisi51u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37W4KUnDmyu0ZjhFcv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rkRheaYa5WDcVtugjy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isaF72IsFTgoyW_Tyf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Szo_UoSqQwD8qMPOXd7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bxFmCM9_pihTkawNce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P6iOqxBC_cBvwU0hRz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xxGIIRUJDiSX.lNVZZ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GebVHGmgDMbyMFdGoa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pHAQg9MBn0EU6uwZ20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goNDEZQNnj0vQkd4ZG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kIf4jHVKvyTMhP4Pg40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kfaQp4liVh2wl_TYHi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k1u7a_DOEnvW0M442c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.16nb7HmzbtawFPZDg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1S1clrvRnnBymPG8L3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uexAlxu58Dpk65PUYx4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VT5DJyHSX20B3sgPD_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04qAwcSttxQ8TR9HQRb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cUPf.H4tNEy7rngmR38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xr7CTRlU1ks.6lqxg1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zl0SlDQ17nOHFjkHfc4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_BVQ7UjdIKcxk9cL9E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8Cy4u21X9hZiCa1gK5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w0CBFp8J9d0GY06eB1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iAKk.Rxx2JLgo7ne.B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akeda_ppt_uroko_tpc_akanered">
  <a:themeElements>
    <a:clrScheme name="Takeda Digital Color Palett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E1100"/>
      </a:accent1>
      <a:accent2>
        <a:srgbClr val="4C4948"/>
      </a:accent2>
      <a:accent3>
        <a:srgbClr val="898989"/>
      </a:accent3>
      <a:accent4>
        <a:srgbClr val="C0C0C0"/>
      </a:accent4>
      <a:accent5>
        <a:srgbClr val="DDDDDD"/>
      </a:accent5>
      <a:accent6>
        <a:srgbClr val="EFEFEF"/>
      </a:accent6>
      <a:hlink>
        <a:srgbClr val="000000"/>
      </a:hlink>
      <a:folHlink>
        <a:srgbClr val="0000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374</Words>
  <Application>Microsoft Office PowerPoint</Application>
  <PresentationFormat>宽屏</PresentationFormat>
  <Paragraphs>402</Paragraphs>
  <Slides>10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0" baseType="lpstr">
      <vt:lpstr>-apple-system</vt:lpstr>
      <vt:lpstr>等线</vt:lpstr>
      <vt:lpstr>微软雅黑</vt:lpstr>
      <vt:lpstr>微软雅黑</vt:lpstr>
      <vt:lpstr>Arial</vt:lpstr>
      <vt:lpstr>Calibri</vt:lpstr>
      <vt:lpstr>Helvetica</vt:lpstr>
      <vt:lpstr>Times New Roman</vt:lpstr>
      <vt:lpstr>1_Takeda_ppt_uroko_tpc_akanered</vt:lpstr>
      <vt:lpstr>think-cell 幻灯片</vt:lpstr>
      <vt:lpstr>注射用维布妥昔单抗 （安适利）</vt:lpstr>
      <vt:lpstr>PowerPoint 演示文稿</vt:lpstr>
      <vt:lpstr>注射用维布妥昔单抗基本信息（概览）</vt:lpstr>
      <vt:lpstr>sALCL和cHL多发于30-40岁劳动力人群，我国缺乏有效的二线治疗药物，维布妥昔单抗属临床急需</vt:lpstr>
      <vt:lpstr>维布妥昔单抗全球上市超10年，拥有近200项临床试验和10万例患者真实世界使用经验，安全性良好可控</vt:lpstr>
      <vt:lpstr>总览：维布妥昔单抗显著优于现有治疗方案，极大缓解临床未满足治疗需求</vt:lpstr>
      <vt:lpstr>维布妥昔单抗治疗R/R sALCL ORR高达86%，5年OS率达60%——达到潜在临床治愈，国内外权威指南均为最高级别推荐</vt:lpstr>
      <vt:lpstr>维布妥昔单抗治疗R/R cHL，CR患者5年OS率 64% ——达到潜在临床治愈；pcALCL 100%实现完全缓解</vt:lpstr>
      <vt:lpstr>维布妥昔单抗是全球唯一获批的靶向CD30的抗体偶联药物（ADC）</vt:lpstr>
      <vt:lpstr>维布妥昔单抗可在真实世界实践中为患者带来 临床治愈的机会，有力填补我国医保目录的空白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布格替尼 申报药品摘要</dc:title>
  <dc:subject/>
  <dc:creator>虎设PPT</dc:creator>
  <cp:keywords/>
  <dc:description/>
  <cp:lastModifiedBy>Wang, Jun</cp:lastModifiedBy>
  <cp:revision>576</cp:revision>
  <dcterms:created xsi:type="dcterms:W3CDTF">2022-06-15T03:24:28Z</dcterms:created>
  <dcterms:modified xsi:type="dcterms:W3CDTF">2022-07-14T06:04:58Z</dcterms:modified>
  <cp:category/>
</cp:coreProperties>
</file>